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80" r:id="rId2"/>
    <p:sldId id="300" r:id="rId3"/>
    <p:sldId id="281" r:id="rId4"/>
    <p:sldId id="299" r:id="rId5"/>
    <p:sldId id="301" r:id="rId6"/>
    <p:sldId id="302" r:id="rId7"/>
    <p:sldId id="303" r:id="rId8"/>
    <p:sldId id="304" r:id="rId9"/>
    <p:sldId id="305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28" userDrawn="1">
          <p15:clr>
            <a:srgbClr val="A4A3A4"/>
          </p15:clr>
        </p15:guide>
        <p15:guide id="2" orient="horz" pos="1008" userDrawn="1">
          <p15:clr>
            <a:srgbClr val="A4A3A4"/>
          </p15:clr>
        </p15:guide>
        <p15:guide id="3" orient="horz" pos="3648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240" userDrawn="1">
          <p15:clr>
            <a:srgbClr val="A4A3A4"/>
          </p15:clr>
        </p15:guide>
        <p15:guide id="6" pos="55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9B18"/>
    <a:srgbClr val="7F7F7F"/>
    <a:srgbClr val="E99E09"/>
    <a:srgbClr val="CE202A"/>
    <a:srgbClr val="0D65AC"/>
    <a:srgbClr val="F0B71F"/>
    <a:srgbClr val="227C13"/>
    <a:srgbClr val="0A518A"/>
    <a:srgbClr val="BA7E07"/>
    <a:srgbClr val="A51A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94660"/>
  </p:normalViewPr>
  <p:slideViewPr>
    <p:cSldViewPr snapToGrid="0">
      <p:cViewPr>
        <p:scale>
          <a:sx n="100" d="100"/>
          <a:sy n="100" d="100"/>
        </p:scale>
        <p:origin x="-2148" y="-420"/>
      </p:cViewPr>
      <p:guideLst>
        <p:guide orient="horz" pos="2328"/>
        <p:guide orient="horz" pos="1008"/>
        <p:guide orient="horz" pos="3648"/>
        <p:guide pos="2880"/>
        <p:guide pos="240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D65AC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2A9B18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CE202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E99E09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ABCAC-0337-4627-BBB7-BF189B8EDA90}" type="datetimeFigureOut">
              <a:rPr lang="en-US" smtClean="0"/>
              <a:t>2/26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latin typeface="+mn-lt"/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/>
        </p:nvSpPr>
        <p:spPr>
          <a:xfrm>
            <a:off x="3124821" y="2256481"/>
            <a:ext cx="2922270" cy="2922270"/>
          </a:xfrm>
          <a:prstGeom prst="ellipse">
            <a:avLst/>
          </a:prstGeom>
          <a:noFill/>
          <a:ln>
            <a:solidFill>
              <a:srgbClr val="0D65AC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/>
          <p:cNvSpPr/>
          <p:nvPr/>
        </p:nvSpPr>
        <p:spPr>
          <a:xfrm>
            <a:off x="952500" y="1600200"/>
            <a:ext cx="3178162" cy="16471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5013339" y="4182457"/>
            <a:ext cx="3193402" cy="16471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952500" y="4182457"/>
            <a:ext cx="3178162" cy="16471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13339" y="1600200"/>
            <a:ext cx="3193402" cy="16471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11" name="Freeform 5"/>
          <p:cNvSpPr>
            <a:spLocks/>
          </p:cNvSpPr>
          <p:nvPr/>
        </p:nvSpPr>
        <p:spPr bwMode="auto">
          <a:xfrm>
            <a:off x="3568697" y="2707967"/>
            <a:ext cx="989030" cy="989029"/>
          </a:xfrm>
          <a:custGeom>
            <a:avLst/>
            <a:gdLst>
              <a:gd name="T0" fmla="*/ 2 w 4713"/>
              <a:gd name="T1" fmla="*/ 4614 h 4713"/>
              <a:gd name="T2" fmla="*/ 13 w 4713"/>
              <a:gd name="T3" fmla="*/ 4420 h 4713"/>
              <a:gd name="T4" fmla="*/ 31 w 4713"/>
              <a:gd name="T5" fmla="*/ 4228 h 4713"/>
              <a:gd name="T6" fmla="*/ 57 w 4713"/>
              <a:gd name="T7" fmla="*/ 4038 h 4713"/>
              <a:gd name="T8" fmla="*/ 90 w 4713"/>
              <a:gd name="T9" fmla="*/ 3852 h 4713"/>
              <a:gd name="T10" fmla="*/ 130 w 4713"/>
              <a:gd name="T11" fmla="*/ 3666 h 4713"/>
              <a:gd name="T12" fmla="*/ 177 w 4713"/>
              <a:gd name="T13" fmla="*/ 3484 h 4713"/>
              <a:gd name="T14" fmla="*/ 232 w 4713"/>
              <a:gd name="T15" fmla="*/ 3305 h 4713"/>
              <a:gd name="T16" fmla="*/ 292 w 4713"/>
              <a:gd name="T17" fmla="*/ 3128 h 4713"/>
              <a:gd name="T18" fmla="*/ 360 w 4713"/>
              <a:gd name="T19" fmla="*/ 2956 h 4713"/>
              <a:gd name="T20" fmla="*/ 434 w 4713"/>
              <a:gd name="T21" fmla="*/ 2786 h 4713"/>
              <a:gd name="T22" fmla="*/ 514 w 4713"/>
              <a:gd name="T23" fmla="*/ 2619 h 4713"/>
              <a:gd name="T24" fmla="*/ 600 w 4713"/>
              <a:gd name="T25" fmla="*/ 2457 h 4713"/>
              <a:gd name="T26" fmla="*/ 693 w 4713"/>
              <a:gd name="T27" fmla="*/ 2298 h 4713"/>
              <a:gd name="T28" fmla="*/ 791 w 4713"/>
              <a:gd name="T29" fmla="*/ 2144 h 4713"/>
              <a:gd name="T30" fmla="*/ 895 w 4713"/>
              <a:gd name="T31" fmla="*/ 1994 h 4713"/>
              <a:gd name="T32" fmla="*/ 949 w 4713"/>
              <a:gd name="T33" fmla="*/ 946 h 4713"/>
              <a:gd name="T34" fmla="*/ 1998 w 4713"/>
              <a:gd name="T35" fmla="*/ 892 h 4713"/>
              <a:gd name="T36" fmla="*/ 2149 w 4713"/>
              <a:gd name="T37" fmla="*/ 788 h 4713"/>
              <a:gd name="T38" fmla="*/ 2304 w 4713"/>
              <a:gd name="T39" fmla="*/ 691 h 4713"/>
              <a:gd name="T40" fmla="*/ 2462 w 4713"/>
              <a:gd name="T41" fmla="*/ 598 h 4713"/>
              <a:gd name="T42" fmla="*/ 2624 w 4713"/>
              <a:gd name="T43" fmla="*/ 512 h 4713"/>
              <a:gd name="T44" fmla="*/ 2790 w 4713"/>
              <a:gd name="T45" fmla="*/ 432 h 4713"/>
              <a:gd name="T46" fmla="*/ 2960 w 4713"/>
              <a:gd name="T47" fmla="*/ 359 h 4713"/>
              <a:gd name="T48" fmla="*/ 3132 w 4713"/>
              <a:gd name="T49" fmla="*/ 291 h 4713"/>
              <a:gd name="T50" fmla="*/ 3307 w 4713"/>
              <a:gd name="T51" fmla="*/ 230 h 4713"/>
              <a:gd name="T52" fmla="*/ 3486 w 4713"/>
              <a:gd name="T53" fmla="*/ 176 h 4713"/>
              <a:gd name="T54" fmla="*/ 3668 w 4713"/>
              <a:gd name="T55" fmla="*/ 130 h 4713"/>
              <a:gd name="T56" fmla="*/ 3853 w 4713"/>
              <a:gd name="T57" fmla="*/ 89 h 4713"/>
              <a:gd name="T58" fmla="*/ 4040 w 4713"/>
              <a:gd name="T59" fmla="*/ 57 h 4713"/>
              <a:gd name="T60" fmla="*/ 4229 w 4713"/>
              <a:gd name="T61" fmla="*/ 31 h 4713"/>
              <a:gd name="T62" fmla="*/ 4421 w 4713"/>
              <a:gd name="T63" fmla="*/ 13 h 4713"/>
              <a:gd name="T64" fmla="*/ 4614 w 4713"/>
              <a:gd name="T65" fmla="*/ 2 h 4713"/>
              <a:gd name="T66" fmla="*/ 4713 w 4713"/>
              <a:gd name="T67" fmla="*/ 1658 h 4713"/>
              <a:gd name="T68" fmla="*/ 4404 w 4713"/>
              <a:gd name="T69" fmla="*/ 1680 h 4713"/>
              <a:gd name="T70" fmla="*/ 4103 w 4713"/>
              <a:gd name="T71" fmla="*/ 1731 h 4713"/>
              <a:gd name="T72" fmla="*/ 3813 w 4713"/>
              <a:gd name="T73" fmla="*/ 1810 h 4713"/>
              <a:gd name="T74" fmla="*/ 3536 w 4713"/>
              <a:gd name="T75" fmla="*/ 1915 h 4713"/>
              <a:gd name="T76" fmla="*/ 3271 w 4713"/>
              <a:gd name="T77" fmla="*/ 2045 h 4713"/>
              <a:gd name="T78" fmla="*/ 3021 w 4713"/>
              <a:gd name="T79" fmla="*/ 2200 h 4713"/>
              <a:gd name="T80" fmla="*/ 2787 w 4713"/>
              <a:gd name="T81" fmla="*/ 2376 h 4713"/>
              <a:gd name="T82" fmla="*/ 2572 w 4713"/>
              <a:gd name="T83" fmla="*/ 2572 h 4713"/>
              <a:gd name="T84" fmla="*/ 2376 w 4713"/>
              <a:gd name="T85" fmla="*/ 2788 h 4713"/>
              <a:gd name="T86" fmla="*/ 2200 w 4713"/>
              <a:gd name="T87" fmla="*/ 3021 h 4713"/>
              <a:gd name="T88" fmla="*/ 2045 w 4713"/>
              <a:gd name="T89" fmla="*/ 3271 h 4713"/>
              <a:gd name="T90" fmla="*/ 1915 w 4713"/>
              <a:gd name="T91" fmla="*/ 3536 h 4713"/>
              <a:gd name="T92" fmla="*/ 1810 w 4713"/>
              <a:gd name="T93" fmla="*/ 3813 h 4713"/>
              <a:gd name="T94" fmla="*/ 1731 w 4713"/>
              <a:gd name="T95" fmla="*/ 4103 h 4713"/>
              <a:gd name="T96" fmla="*/ 1680 w 4713"/>
              <a:gd name="T97" fmla="*/ 4404 h 4713"/>
              <a:gd name="T98" fmla="*/ 1658 w 4713"/>
              <a:gd name="T99" fmla="*/ 4713 h 4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13" h="4713">
                <a:moveTo>
                  <a:pt x="0" y="4713"/>
                </a:moveTo>
                <a:lnTo>
                  <a:pt x="2" y="4614"/>
                </a:lnTo>
                <a:lnTo>
                  <a:pt x="6" y="4517"/>
                </a:lnTo>
                <a:lnTo>
                  <a:pt x="13" y="4420"/>
                </a:lnTo>
                <a:lnTo>
                  <a:pt x="21" y="4324"/>
                </a:lnTo>
                <a:lnTo>
                  <a:pt x="31" y="4228"/>
                </a:lnTo>
                <a:lnTo>
                  <a:pt x="43" y="4133"/>
                </a:lnTo>
                <a:lnTo>
                  <a:pt x="57" y="4038"/>
                </a:lnTo>
                <a:lnTo>
                  <a:pt x="73" y="3944"/>
                </a:lnTo>
                <a:lnTo>
                  <a:pt x="90" y="3852"/>
                </a:lnTo>
                <a:lnTo>
                  <a:pt x="109" y="3759"/>
                </a:lnTo>
                <a:lnTo>
                  <a:pt x="130" y="3666"/>
                </a:lnTo>
                <a:lnTo>
                  <a:pt x="153" y="3574"/>
                </a:lnTo>
                <a:lnTo>
                  <a:pt x="177" y="3484"/>
                </a:lnTo>
                <a:lnTo>
                  <a:pt x="204" y="3394"/>
                </a:lnTo>
                <a:lnTo>
                  <a:pt x="232" y="3305"/>
                </a:lnTo>
                <a:lnTo>
                  <a:pt x="261" y="3217"/>
                </a:lnTo>
                <a:lnTo>
                  <a:pt x="292" y="3128"/>
                </a:lnTo>
                <a:lnTo>
                  <a:pt x="325" y="3042"/>
                </a:lnTo>
                <a:lnTo>
                  <a:pt x="360" y="2956"/>
                </a:lnTo>
                <a:lnTo>
                  <a:pt x="396" y="2870"/>
                </a:lnTo>
                <a:lnTo>
                  <a:pt x="434" y="2786"/>
                </a:lnTo>
                <a:lnTo>
                  <a:pt x="473" y="2702"/>
                </a:lnTo>
                <a:lnTo>
                  <a:pt x="514" y="2619"/>
                </a:lnTo>
                <a:lnTo>
                  <a:pt x="557" y="2538"/>
                </a:lnTo>
                <a:lnTo>
                  <a:pt x="600" y="2457"/>
                </a:lnTo>
                <a:lnTo>
                  <a:pt x="647" y="2378"/>
                </a:lnTo>
                <a:lnTo>
                  <a:pt x="693" y="2298"/>
                </a:lnTo>
                <a:lnTo>
                  <a:pt x="742" y="2221"/>
                </a:lnTo>
                <a:lnTo>
                  <a:pt x="791" y="2144"/>
                </a:lnTo>
                <a:lnTo>
                  <a:pt x="843" y="2069"/>
                </a:lnTo>
                <a:lnTo>
                  <a:pt x="895" y="1994"/>
                </a:lnTo>
                <a:lnTo>
                  <a:pt x="949" y="1920"/>
                </a:lnTo>
                <a:lnTo>
                  <a:pt x="949" y="946"/>
                </a:lnTo>
                <a:lnTo>
                  <a:pt x="1925" y="946"/>
                </a:lnTo>
                <a:lnTo>
                  <a:pt x="1998" y="892"/>
                </a:lnTo>
                <a:lnTo>
                  <a:pt x="2073" y="840"/>
                </a:lnTo>
                <a:lnTo>
                  <a:pt x="2149" y="788"/>
                </a:lnTo>
                <a:lnTo>
                  <a:pt x="2225" y="738"/>
                </a:lnTo>
                <a:lnTo>
                  <a:pt x="2304" y="691"/>
                </a:lnTo>
                <a:lnTo>
                  <a:pt x="2382" y="643"/>
                </a:lnTo>
                <a:lnTo>
                  <a:pt x="2462" y="598"/>
                </a:lnTo>
                <a:lnTo>
                  <a:pt x="2542" y="555"/>
                </a:lnTo>
                <a:lnTo>
                  <a:pt x="2624" y="512"/>
                </a:lnTo>
                <a:lnTo>
                  <a:pt x="2707" y="471"/>
                </a:lnTo>
                <a:lnTo>
                  <a:pt x="2790" y="432"/>
                </a:lnTo>
                <a:lnTo>
                  <a:pt x="2875" y="395"/>
                </a:lnTo>
                <a:lnTo>
                  <a:pt x="2960" y="359"/>
                </a:lnTo>
                <a:lnTo>
                  <a:pt x="3046" y="324"/>
                </a:lnTo>
                <a:lnTo>
                  <a:pt x="3132" y="291"/>
                </a:lnTo>
                <a:lnTo>
                  <a:pt x="3219" y="260"/>
                </a:lnTo>
                <a:lnTo>
                  <a:pt x="3307" y="230"/>
                </a:lnTo>
                <a:lnTo>
                  <a:pt x="3397" y="203"/>
                </a:lnTo>
                <a:lnTo>
                  <a:pt x="3486" y="176"/>
                </a:lnTo>
                <a:lnTo>
                  <a:pt x="3577" y="152"/>
                </a:lnTo>
                <a:lnTo>
                  <a:pt x="3668" y="130"/>
                </a:lnTo>
                <a:lnTo>
                  <a:pt x="3760" y="109"/>
                </a:lnTo>
                <a:lnTo>
                  <a:pt x="3853" y="89"/>
                </a:lnTo>
                <a:lnTo>
                  <a:pt x="3947" y="73"/>
                </a:lnTo>
                <a:lnTo>
                  <a:pt x="4040" y="57"/>
                </a:lnTo>
                <a:lnTo>
                  <a:pt x="4134" y="43"/>
                </a:lnTo>
                <a:lnTo>
                  <a:pt x="4229" y="31"/>
                </a:lnTo>
                <a:lnTo>
                  <a:pt x="4325" y="21"/>
                </a:lnTo>
                <a:lnTo>
                  <a:pt x="4421" y="13"/>
                </a:lnTo>
                <a:lnTo>
                  <a:pt x="4517" y="6"/>
                </a:lnTo>
                <a:lnTo>
                  <a:pt x="4614" y="2"/>
                </a:lnTo>
                <a:lnTo>
                  <a:pt x="4713" y="0"/>
                </a:lnTo>
                <a:lnTo>
                  <a:pt x="4713" y="1658"/>
                </a:lnTo>
                <a:lnTo>
                  <a:pt x="4557" y="1666"/>
                </a:lnTo>
                <a:lnTo>
                  <a:pt x="4404" y="1680"/>
                </a:lnTo>
                <a:lnTo>
                  <a:pt x="4252" y="1702"/>
                </a:lnTo>
                <a:lnTo>
                  <a:pt x="4103" y="1731"/>
                </a:lnTo>
                <a:lnTo>
                  <a:pt x="3956" y="1767"/>
                </a:lnTo>
                <a:lnTo>
                  <a:pt x="3813" y="1810"/>
                </a:lnTo>
                <a:lnTo>
                  <a:pt x="3673" y="1860"/>
                </a:lnTo>
                <a:lnTo>
                  <a:pt x="3536" y="1915"/>
                </a:lnTo>
                <a:lnTo>
                  <a:pt x="3401" y="1978"/>
                </a:lnTo>
                <a:lnTo>
                  <a:pt x="3271" y="2045"/>
                </a:lnTo>
                <a:lnTo>
                  <a:pt x="3144" y="2120"/>
                </a:lnTo>
                <a:lnTo>
                  <a:pt x="3021" y="2200"/>
                </a:lnTo>
                <a:lnTo>
                  <a:pt x="2902" y="2285"/>
                </a:lnTo>
                <a:lnTo>
                  <a:pt x="2787" y="2376"/>
                </a:lnTo>
                <a:lnTo>
                  <a:pt x="2678" y="2472"/>
                </a:lnTo>
                <a:lnTo>
                  <a:pt x="2572" y="2572"/>
                </a:lnTo>
                <a:lnTo>
                  <a:pt x="2472" y="2678"/>
                </a:lnTo>
                <a:lnTo>
                  <a:pt x="2376" y="2788"/>
                </a:lnTo>
                <a:lnTo>
                  <a:pt x="2285" y="2902"/>
                </a:lnTo>
                <a:lnTo>
                  <a:pt x="2200" y="3021"/>
                </a:lnTo>
                <a:lnTo>
                  <a:pt x="2119" y="3144"/>
                </a:lnTo>
                <a:lnTo>
                  <a:pt x="2045" y="3271"/>
                </a:lnTo>
                <a:lnTo>
                  <a:pt x="1978" y="3401"/>
                </a:lnTo>
                <a:lnTo>
                  <a:pt x="1915" y="3536"/>
                </a:lnTo>
                <a:lnTo>
                  <a:pt x="1860" y="3673"/>
                </a:lnTo>
                <a:lnTo>
                  <a:pt x="1810" y="3813"/>
                </a:lnTo>
                <a:lnTo>
                  <a:pt x="1767" y="3956"/>
                </a:lnTo>
                <a:lnTo>
                  <a:pt x="1731" y="4103"/>
                </a:lnTo>
                <a:lnTo>
                  <a:pt x="1702" y="4252"/>
                </a:lnTo>
                <a:lnTo>
                  <a:pt x="1680" y="4404"/>
                </a:lnTo>
                <a:lnTo>
                  <a:pt x="1666" y="4557"/>
                </a:lnTo>
                <a:lnTo>
                  <a:pt x="1658" y="4713"/>
                </a:lnTo>
                <a:lnTo>
                  <a:pt x="0" y="4713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2" name="Freeform 6"/>
          <p:cNvSpPr>
            <a:spLocks/>
          </p:cNvSpPr>
          <p:nvPr/>
        </p:nvSpPr>
        <p:spPr bwMode="auto">
          <a:xfrm>
            <a:off x="3568697" y="3725542"/>
            <a:ext cx="989030" cy="989029"/>
          </a:xfrm>
          <a:custGeom>
            <a:avLst/>
            <a:gdLst>
              <a:gd name="T0" fmla="*/ 4616 w 4713"/>
              <a:gd name="T1" fmla="*/ 4711 h 4713"/>
              <a:gd name="T2" fmla="*/ 4422 w 4713"/>
              <a:gd name="T3" fmla="*/ 4700 h 4713"/>
              <a:gd name="T4" fmla="*/ 4232 w 4713"/>
              <a:gd name="T5" fmla="*/ 4682 h 4713"/>
              <a:gd name="T6" fmla="*/ 4044 w 4713"/>
              <a:gd name="T7" fmla="*/ 4657 h 4713"/>
              <a:gd name="T8" fmla="*/ 3857 w 4713"/>
              <a:gd name="T9" fmla="*/ 4625 h 4713"/>
              <a:gd name="T10" fmla="*/ 3674 w 4713"/>
              <a:gd name="T11" fmla="*/ 4585 h 4713"/>
              <a:gd name="T12" fmla="*/ 3493 w 4713"/>
              <a:gd name="T13" fmla="*/ 4538 h 4713"/>
              <a:gd name="T14" fmla="*/ 3315 w 4713"/>
              <a:gd name="T15" fmla="*/ 4485 h 4713"/>
              <a:gd name="T16" fmla="*/ 3141 w 4713"/>
              <a:gd name="T17" fmla="*/ 4425 h 4713"/>
              <a:gd name="T18" fmla="*/ 2968 w 4713"/>
              <a:gd name="T19" fmla="*/ 4358 h 4713"/>
              <a:gd name="T20" fmla="*/ 2799 w 4713"/>
              <a:gd name="T21" fmla="*/ 4285 h 4713"/>
              <a:gd name="T22" fmla="*/ 2635 w 4713"/>
              <a:gd name="T23" fmla="*/ 4205 h 4713"/>
              <a:gd name="T24" fmla="*/ 2473 w 4713"/>
              <a:gd name="T25" fmla="*/ 4120 h 4713"/>
              <a:gd name="T26" fmla="*/ 2315 w 4713"/>
              <a:gd name="T27" fmla="*/ 4030 h 4713"/>
              <a:gd name="T28" fmla="*/ 2161 w 4713"/>
              <a:gd name="T29" fmla="*/ 3933 h 4713"/>
              <a:gd name="T30" fmla="*/ 2011 w 4713"/>
              <a:gd name="T31" fmla="*/ 3830 h 4713"/>
              <a:gd name="T32" fmla="*/ 949 w 4713"/>
              <a:gd name="T33" fmla="*/ 3777 h 4713"/>
              <a:gd name="T34" fmla="*/ 895 w 4713"/>
              <a:gd name="T35" fmla="*/ 2719 h 4713"/>
              <a:gd name="T36" fmla="*/ 791 w 4713"/>
              <a:gd name="T37" fmla="*/ 2569 h 4713"/>
              <a:gd name="T38" fmla="*/ 693 w 4713"/>
              <a:gd name="T39" fmla="*/ 2415 h 4713"/>
              <a:gd name="T40" fmla="*/ 600 w 4713"/>
              <a:gd name="T41" fmla="*/ 2256 h 4713"/>
              <a:gd name="T42" fmla="*/ 514 w 4713"/>
              <a:gd name="T43" fmla="*/ 2094 h 4713"/>
              <a:gd name="T44" fmla="*/ 434 w 4713"/>
              <a:gd name="T45" fmla="*/ 1927 h 4713"/>
              <a:gd name="T46" fmla="*/ 360 w 4713"/>
              <a:gd name="T47" fmla="*/ 1757 h 4713"/>
              <a:gd name="T48" fmla="*/ 292 w 4713"/>
              <a:gd name="T49" fmla="*/ 1585 h 4713"/>
              <a:gd name="T50" fmla="*/ 232 w 4713"/>
              <a:gd name="T51" fmla="*/ 1408 h 4713"/>
              <a:gd name="T52" fmla="*/ 177 w 4713"/>
              <a:gd name="T53" fmla="*/ 1229 h 4713"/>
              <a:gd name="T54" fmla="*/ 130 w 4713"/>
              <a:gd name="T55" fmla="*/ 1047 h 4713"/>
              <a:gd name="T56" fmla="*/ 90 w 4713"/>
              <a:gd name="T57" fmla="*/ 861 h 4713"/>
              <a:gd name="T58" fmla="*/ 57 w 4713"/>
              <a:gd name="T59" fmla="*/ 675 h 4713"/>
              <a:gd name="T60" fmla="*/ 31 w 4713"/>
              <a:gd name="T61" fmla="*/ 485 h 4713"/>
              <a:gd name="T62" fmla="*/ 13 w 4713"/>
              <a:gd name="T63" fmla="*/ 293 h 4713"/>
              <a:gd name="T64" fmla="*/ 2 w 4713"/>
              <a:gd name="T65" fmla="*/ 99 h 4713"/>
              <a:gd name="T66" fmla="*/ 1658 w 4713"/>
              <a:gd name="T67" fmla="*/ 0 h 4713"/>
              <a:gd name="T68" fmla="*/ 1680 w 4713"/>
              <a:gd name="T69" fmla="*/ 309 h 4713"/>
              <a:gd name="T70" fmla="*/ 1731 w 4713"/>
              <a:gd name="T71" fmla="*/ 610 h 4713"/>
              <a:gd name="T72" fmla="*/ 1810 w 4713"/>
              <a:gd name="T73" fmla="*/ 900 h 4713"/>
              <a:gd name="T74" fmla="*/ 1915 w 4713"/>
              <a:gd name="T75" fmla="*/ 1177 h 4713"/>
              <a:gd name="T76" fmla="*/ 2045 w 4713"/>
              <a:gd name="T77" fmla="*/ 1442 h 4713"/>
              <a:gd name="T78" fmla="*/ 2200 w 4713"/>
              <a:gd name="T79" fmla="*/ 1692 h 4713"/>
              <a:gd name="T80" fmla="*/ 2376 w 4713"/>
              <a:gd name="T81" fmla="*/ 1925 h 4713"/>
              <a:gd name="T82" fmla="*/ 2572 w 4713"/>
              <a:gd name="T83" fmla="*/ 2141 h 4713"/>
              <a:gd name="T84" fmla="*/ 2787 w 4713"/>
              <a:gd name="T85" fmla="*/ 2337 h 4713"/>
              <a:gd name="T86" fmla="*/ 3021 w 4713"/>
              <a:gd name="T87" fmla="*/ 2513 h 4713"/>
              <a:gd name="T88" fmla="*/ 3271 w 4713"/>
              <a:gd name="T89" fmla="*/ 2668 h 4713"/>
              <a:gd name="T90" fmla="*/ 3536 w 4713"/>
              <a:gd name="T91" fmla="*/ 2798 h 4713"/>
              <a:gd name="T92" fmla="*/ 3813 w 4713"/>
              <a:gd name="T93" fmla="*/ 2903 h 4713"/>
              <a:gd name="T94" fmla="*/ 4103 w 4713"/>
              <a:gd name="T95" fmla="*/ 2982 h 4713"/>
              <a:gd name="T96" fmla="*/ 4404 w 4713"/>
              <a:gd name="T97" fmla="*/ 3033 h 4713"/>
              <a:gd name="T98" fmla="*/ 4713 w 4713"/>
              <a:gd name="T99" fmla="*/ 3055 h 4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13" h="4713">
                <a:moveTo>
                  <a:pt x="4713" y="4713"/>
                </a:moveTo>
                <a:lnTo>
                  <a:pt x="4616" y="4711"/>
                </a:lnTo>
                <a:lnTo>
                  <a:pt x="4518" y="4707"/>
                </a:lnTo>
                <a:lnTo>
                  <a:pt x="4422" y="4700"/>
                </a:lnTo>
                <a:lnTo>
                  <a:pt x="4327" y="4692"/>
                </a:lnTo>
                <a:lnTo>
                  <a:pt x="4232" y="4682"/>
                </a:lnTo>
                <a:lnTo>
                  <a:pt x="4138" y="4670"/>
                </a:lnTo>
                <a:lnTo>
                  <a:pt x="4044" y="4657"/>
                </a:lnTo>
                <a:lnTo>
                  <a:pt x="3950" y="4642"/>
                </a:lnTo>
                <a:lnTo>
                  <a:pt x="3857" y="4625"/>
                </a:lnTo>
                <a:lnTo>
                  <a:pt x="3765" y="4605"/>
                </a:lnTo>
                <a:lnTo>
                  <a:pt x="3674" y="4585"/>
                </a:lnTo>
                <a:lnTo>
                  <a:pt x="3583" y="4562"/>
                </a:lnTo>
                <a:lnTo>
                  <a:pt x="3493" y="4538"/>
                </a:lnTo>
                <a:lnTo>
                  <a:pt x="3404" y="4512"/>
                </a:lnTo>
                <a:lnTo>
                  <a:pt x="3315" y="4485"/>
                </a:lnTo>
                <a:lnTo>
                  <a:pt x="3228" y="4456"/>
                </a:lnTo>
                <a:lnTo>
                  <a:pt x="3141" y="4425"/>
                </a:lnTo>
                <a:lnTo>
                  <a:pt x="3054" y="4392"/>
                </a:lnTo>
                <a:lnTo>
                  <a:pt x="2968" y="4358"/>
                </a:lnTo>
                <a:lnTo>
                  <a:pt x="2883" y="4322"/>
                </a:lnTo>
                <a:lnTo>
                  <a:pt x="2799" y="4285"/>
                </a:lnTo>
                <a:lnTo>
                  <a:pt x="2717" y="4246"/>
                </a:lnTo>
                <a:lnTo>
                  <a:pt x="2635" y="4205"/>
                </a:lnTo>
                <a:lnTo>
                  <a:pt x="2553" y="4165"/>
                </a:lnTo>
                <a:lnTo>
                  <a:pt x="2473" y="4120"/>
                </a:lnTo>
                <a:lnTo>
                  <a:pt x="2394" y="4076"/>
                </a:lnTo>
                <a:lnTo>
                  <a:pt x="2315" y="4030"/>
                </a:lnTo>
                <a:lnTo>
                  <a:pt x="2238" y="3982"/>
                </a:lnTo>
                <a:lnTo>
                  <a:pt x="2161" y="3933"/>
                </a:lnTo>
                <a:lnTo>
                  <a:pt x="2086" y="3882"/>
                </a:lnTo>
                <a:lnTo>
                  <a:pt x="2011" y="3830"/>
                </a:lnTo>
                <a:lnTo>
                  <a:pt x="1938" y="3777"/>
                </a:lnTo>
                <a:lnTo>
                  <a:pt x="949" y="3777"/>
                </a:lnTo>
                <a:lnTo>
                  <a:pt x="949" y="2793"/>
                </a:lnTo>
                <a:lnTo>
                  <a:pt x="895" y="2719"/>
                </a:lnTo>
                <a:lnTo>
                  <a:pt x="843" y="2644"/>
                </a:lnTo>
                <a:lnTo>
                  <a:pt x="791" y="2569"/>
                </a:lnTo>
                <a:lnTo>
                  <a:pt x="742" y="2492"/>
                </a:lnTo>
                <a:lnTo>
                  <a:pt x="693" y="2415"/>
                </a:lnTo>
                <a:lnTo>
                  <a:pt x="647" y="2335"/>
                </a:lnTo>
                <a:lnTo>
                  <a:pt x="600" y="2256"/>
                </a:lnTo>
                <a:lnTo>
                  <a:pt x="557" y="2175"/>
                </a:lnTo>
                <a:lnTo>
                  <a:pt x="514" y="2094"/>
                </a:lnTo>
                <a:lnTo>
                  <a:pt x="473" y="2011"/>
                </a:lnTo>
                <a:lnTo>
                  <a:pt x="434" y="1927"/>
                </a:lnTo>
                <a:lnTo>
                  <a:pt x="396" y="1843"/>
                </a:lnTo>
                <a:lnTo>
                  <a:pt x="360" y="1757"/>
                </a:lnTo>
                <a:lnTo>
                  <a:pt x="325" y="1671"/>
                </a:lnTo>
                <a:lnTo>
                  <a:pt x="292" y="1585"/>
                </a:lnTo>
                <a:lnTo>
                  <a:pt x="261" y="1496"/>
                </a:lnTo>
                <a:lnTo>
                  <a:pt x="232" y="1408"/>
                </a:lnTo>
                <a:lnTo>
                  <a:pt x="204" y="1319"/>
                </a:lnTo>
                <a:lnTo>
                  <a:pt x="177" y="1229"/>
                </a:lnTo>
                <a:lnTo>
                  <a:pt x="153" y="1139"/>
                </a:lnTo>
                <a:lnTo>
                  <a:pt x="130" y="1047"/>
                </a:lnTo>
                <a:lnTo>
                  <a:pt x="109" y="954"/>
                </a:lnTo>
                <a:lnTo>
                  <a:pt x="90" y="861"/>
                </a:lnTo>
                <a:lnTo>
                  <a:pt x="73" y="769"/>
                </a:lnTo>
                <a:lnTo>
                  <a:pt x="57" y="675"/>
                </a:lnTo>
                <a:lnTo>
                  <a:pt x="43" y="580"/>
                </a:lnTo>
                <a:lnTo>
                  <a:pt x="31" y="485"/>
                </a:lnTo>
                <a:lnTo>
                  <a:pt x="21" y="389"/>
                </a:lnTo>
                <a:lnTo>
                  <a:pt x="13" y="293"/>
                </a:lnTo>
                <a:lnTo>
                  <a:pt x="6" y="196"/>
                </a:lnTo>
                <a:lnTo>
                  <a:pt x="2" y="99"/>
                </a:lnTo>
                <a:lnTo>
                  <a:pt x="0" y="0"/>
                </a:lnTo>
                <a:lnTo>
                  <a:pt x="1658" y="0"/>
                </a:lnTo>
                <a:lnTo>
                  <a:pt x="1666" y="156"/>
                </a:lnTo>
                <a:lnTo>
                  <a:pt x="1680" y="309"/>
                </a:lnTo>
                <a:lnTo>
                  <a:pt x="1702" y="461"/>
                </a:lnTo>
                <a:lnTo>
                  <a:pt x="1731" y="610"/>
                </a:lnTo>
                <a:lnTo>
                  <a:pt x="1767" y="757"/>
                </a:lnTo>
                <a:lnTo>
                  <a:pt x="1810" y="900"/>
                </a:lnTo>
                <a:lnTo>
                  <a:pt x="1860" y="1040"/>
                </a:lnTo>
                <a:lnTo>
                  <a:pt x="1915" y="1177"/>
                </a:lnTo>
                <a:lnTo>
                  <a:pt x="1978" y="1312"/>
                </a:lnTo>
                <a:lnTo>
                  <a:pt x="2045" y="1442"/>
                </a:lnTo>
                <a:lnTo>
                  <a:pt x="2119" y="1569"/>
                </a:lnTo>
                <a:lnTo>
                  <a:pt x="2200" y="1692"/>
                </a:lnTo>
                <a:lnTo>
                  <a:pt x="2285" y="1811"/>
                </a:lnTo>
                <a:lnTo>
                  <a:pt x="2376" y="1925"/>
                </a:lnTo>
                <a:lnTo>
                  <a:pt x="2472" y="2035"/>
                </a:lnTo>
                <a:lnTo>
                  <a:pt x="2572" y="2141"/>
                </a:lnTo>
                <a:lnTo>
                  <a:pt x="2678" y="2241"/>
                </a:lnTo>
                <a:lnTo>
                  <a:pt x="2787" y="2337"/>
                </a:lnTo>
                <a:lnTo>
                  <a:pt x="2902" y="2428"/>
                </a:lnTo>
                <a:lnTo>
                  <a:pt x="3021" y="2513"/>
                </a:lnTo>
                <a:lnTo>
                  <a:pt x="3144" y="2593"/>
                </a:lnTo>
                <a:lnTo>
                  <a:pt x="3271" y="2668"/>
                </a:lnTo>
                <a:lnTo>
                  <a:pt x="3401" y="2735"/>
                </a:lnTo>
                <a:lnTo>
                  <a:pt x="3536" y="2798"/>
                </a:lnTo>
                <a:lnTo>
                  <a:pt x="3673" y="2853"/>
                </a:lnTo>
                <a:lnTo>
                  <a:pt x="3813" y="2903"/>
                </a:lnTo>
                <a:lnTo>
                  <a:pt x="3956" y="2946"/>
                </a:lnTo>
                <a:lnTo>
                  <a:pt x="4103" y="2982"/>
                </a:lnTo>
                <a:lnTo>
                  <a:pt x="4252" y="3011"/>
                </a:lnTo>
                <a:lnTo>
                  <a:pt x="4404" y="3033"/>
                </a:lnTo>
                <a:lnTo>
                  <a:pt x="4557" y="3047"/>
                </a:lnTo>
                <a:lnTo>
                  <a:pt x="4713" y="3055"/>
                </a:lnTo>
                <a:lnTo>
                  <a:pt x="4713" y="471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3973191" y="3112461"/>
            <a:ext cx="1197620" cy="1197616"/>
          </a:xfrm>
          <a:custGeom>
            <a:avLst/>
            <a:gdLst>
              <a:gd name="T0" fmla="*/ 3185 w 5780"/>
              <a:gd name="T1" fmla="*/ 14 h 5780"/>
              <a:gd name="T2" fmla="*/ 3612 w 5780"/>
              <a:gd name="T3" fmla="*/ 90 h 5780"/>
              <a:gd name="T4" fmla="*/ 4015 w 5780"/>
              <a:gd name="T5" fmla="*/ 227 h 5780"/>
              <a:gd name="T6" fmla="*/ 4388 w 5780"/>
              <a:gd name="T7" fmla="*/ 418 h 5780"/>
              <a:gd name="T8" fmla="*/ 4728 w 5780"/>
              <a:gd name="T9" fmla="*/ 660 h 5780"/>
              <a:gd name="T10" fmla="*/ 5030 w 5780"/>
              <a:gd name="T11" fmla="*/ 947 h 5780"/>
              <a:gd name="T12" fmla="*/ 5287 w 5780"/>
              <a:gd name="T13" fmla="*/ 1274 h 5780"/>
              <a:gd name="T14" fmla="*/ 5495 w 5780"/>
              <a:gd name="T15" fmla="*/ 1637 h 5780"/>
              <a:gd name="T16" fmla="*/ 5650 w 5780"/>
              <a:gd name="T17" fmla="*/ 2030 h 5780"/>
              <a:gd name="T18" fmla="*/ 5747 w 5780"/>
              <a:gd name="T19" fmla="*/ 2450 h 5780"/>
              <a:gd name="T20" fmla="*/ 5780 w 5780"/>
              <a:gd name="T21" fmla="*/ 2890 h 5780"/>
              <a:gd name="T22" fmla="*/ 5747 w 5780"/>
              <a:gd name="T23" fmla="*/ 3330 h 5780"/>
              <a:gd name="T24" fmla="*/ 5650 w 5780"/>
              <a:gd name="T25" fmla="*/ 3750 h 5780"/>
              <a:gd name="T26" fmla="*/ 5495 w 5780"/>
              <a:gd name="T27" fmla="*/ 4143 h 5780"/>
              <a:gd name="T28" fmla="*/ 5287 w 5780"/>
              <a:gd name="T29" fmla="*/ 4506 h 5780"/>
              <a:gd name="T30" fmla="*/ 5030 w 5780"/>
              <a:gd name="T31" fmla="*/ 4833 h 5780"/>
              <a:gd name="T32" fmla="*/ 4728 w 5780"/>
              <a:gd name="T33" fmla="*/ 5120 h 5780"/>
              <a:gd name="T34" fmla="*/ 4388 w 5780"/>
              <a:gd name="T35" fmla="*/ 5362 h 5780"/>
              <a:gd name="T36" fmla="*/ 4015 w 5780"/>
              <a:gd name="T37" fmla="*/ 5553 h 5780"/>
              <a:gd name="T38" fmla="*/ 3612 w 5780"/>
              <a:gd name="T39" fmla="*/ 5690 h 5780"/>
              <a:gd name="T40" fmla="*/ 3185 w 5780"/>
              <a:gd name="T41" fmla="*/ 5766 h 5780"/>
              <a:gd name="T42" fmla="*/ 2741 w 5780"/>
              <a:gd name="T43" fmla="*/ 5777 h 5780"/>
              <a:gd name="T44" fmla="*/ 2307 w 5780"/>
              <a:gd name="T45" fmla="*/ 5722 h 5780"/>
              <a:gd name="T46" fmla="*/ 1896 w 5780"/>
              <a:gd name="T47" fmla="*/ 5605 h 5780"/>
              <a:gd name="T48" fmla="*/ 1512 w 5780"/>
              <a:gd name="T49" fmla="*/ 5431 h 5780"/>
              <a:gd name="T50" fmla="*/ 1160 w 5780"/>
              <a:gd name="T51" fmla="*/ 5206 h 5780"/>
              <a:gd name="T52" fmla="*/ 847 w 5780"/>
              <a:gd name="T53" fmla="*/ 4933 h 5780"/>
              <a:gd name="T54" fmla="*/ 574 w 5780"/>
              <a:gd name="T55" fmla="*/ 4619 h 5780"/>
              <a:gd name="T56" fmla="*/ 349 w 5780"/>
              <a:gd name="T57" fmla="*/ 4268 h 5780"/>
              <a:gd name="T58" fmla="*/ 175 w 5780"/>
              <a:gd name="T59" fmla="*/ 3884 h 5780"/>
              <a:gd name="T60" fmla="*/ 58 w 5780"/>
              <a:gd name="T61" fmla="*/ 3473 h 5780"/>
              <a:gd name="T62" fmla="*/ 3 w 5780"/>
              <a:gd name="T63" fmla="*/ 3039 h 5780"/>
              <a:gd name="T64" fmla="*/ 14 w 5780"/>
              <a:gd name="T65" fmla="*/ 2594 h 5780"/>
              <a:gd name="T66" fmla="*/ 90 w 5780"/>
              <a:gd name="T67" fmla="*/ 2168 h 5780"/>
              <a:gd name="T68" fmla="*/ 227 w 5780"/>
              <a:gd name="T69" fmla="*/ 1765 h 5780"/>
              <a:gd name="T70" fmla="*/ 418 w 5780"/>
              <a:gd name="T71" fmla="*/ 1391 h 5780"/>
              <a:gd name="T72" fmla="*/ 660 w 5780"/>
              <a:gd name="T73" fmla="*/ 1052 h 5780"/>
              <a:gd name="T74" fmla="*/ 947 w 5780"/>
              <a:gd name="T75" fmla="*/ 750 h 5780"/>
              <a:gd name="T76" fmla="*/ 1274 w 5780"/>
              <a:gd name="T77" fmla="*/ 493 h 5780"/>
              <a:gd name="T78" fmla="*/ 1637 w 5780"/>
              <a:gd name="T79" fmla="*/ 285 h 5780"/>
              <a:gd name="T80" fmla="*/ 2030 w 5780"/>
              <a:gd name="T81" fmla="*/ 130 h 5780"/>
              <a:gd name="T82" fmla="*/ 2450 w 5780"/>
              <a:gd name="T83" fmla="*/ 33 h 5780"/>
              <a:gd name="T84" fmla="*/ 2890 w 5780"/>
              <a:gd name="T85" fmla="*/ 0 h 5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80" h="5780">
                <a:moveTo>
                  <a:pt x="2890" y="0"/>
                </a:moveTo>
                <a:lnTo>
                  <a:pt x="3039" y="3"/>
                </a:lnTo>
                <a:lnTo>
                  <a:pt x="3185" y="14"/>
                </a:lnTo>
                <a:lnTo>
                  <a:pt x="3331" y="33"/>
                </a:lnTo>
                <a:lnTo>
                  <a:pt x="3472" y="58"/>
                </a:lnTo>
                <a:lnTo>
                  <a:pt x="3612" y="90"/>
                </a:lnTo>
                <a:lnTo>
                  <a:pt x="3749" y="130"/>
                </a:lnTo>
                <a:lnTo>
                  <a:pt x="3884" y="175"/>
                </a:lnTo>
                <a:lnTo>
                  <a:pt x="4015" y="227"/>
                </a:lnTo>
                <a:lnTo>
                  <a:pt x="4143" y="285"/>
                </a:lnTo>
                <a:lnTo>
                  <a:pt x="4268" y="349"/>
                </a:lnTo>
                <a:lnTo>
                  <a:pt x="4388" y="418"/>
                </a:lnTo>
                <a:lnTo>
                  <a:pt x="4506" y="493"/>
                </a:lnTo>
                <a:lnTo>
                  <a:pt x="4619" y="574"/>
                </a:lnTo>
                <a:lnTo>
                  <a:pt x="4728" y="660"/>
                </a:lnTo>
                <a:lnTo>
                  <a:pt x="4833" y="750"/>
                </a:lnTo>
                <a:lnTo>
                  <a:pt x="4934" y="847"/>
                </a:lnTo>
                <a:lnTo>
                  <a:pt x="5030" y="947"/>
                </a:lnTo>
                <a:lnTo>
                  <a:pt x="5120" y="1052"/>
                </a:lnTo>
                <a:lnTo>
                  <a:pt x="5206" y="1161"/>
                </a:lnTo>
                <a:lnTo>
                  <a:pt x="5287" y="1274"/>
                </a:lnTo>
                <a:lnTo>
                  <a:pt x="5362" y="1391"/>
                </a:lnTo>
                <a:lnTo>
                  <a:pt x="5431" y="1512"/>
                </a:lnTo>
                <a:lnTo>
                  <a:pt x="5495" y="1637"/>
                </a:lnTo>
                <a:lnTo>
                  <a:pt x="5553" y="1765"/>
                </a:lnTo>
                <a:lnTo>
                  <a:pt x="5605" y="1896"/>
                </a:lnTo>
                <a:lnTo>
                  <a:pt x="5650" y="2030"/>
                </a:lnTo>
                <a:lnTo>
                  <a:pt x="5689" y="2168"/>
                </a:lnTo>
                <a:lnTo>
                  <a:pt x="5722" y="2307"/>
                </a:lnTo>
                <a:lnTo>
                  <a:pt x="5747" y="2450"/>
                </a:lnTo>
                <a:lnTo>
                  <a:pt x="5765" y="2594"/>
                </a:lnTo>
                <a:lnTo>
                  <a:pt x="5776" y="2741"/>
                </a:lnTo>
                <a:lnTo>
                  <a:pt x="5780" y="2890"/>
                </a:lnTo>
                <a:lnTo>
                  <a:pt x="5776" y="3039"/>
                </a:lnTo>
                <a:lnTo>
                  <a:pt x="5765" y="3186"/>
                </a:lnTo>
                <a:lnTo>
                  <a:pt x="5747" y="3330"/>
                </a:lnTo>
                <a:lnTo>
                  <a:pt x="5722" y="3473"/>
                </a:lnTo>
                <a:lnTo>
                  <a:pt x="5689" y="3612"/>
                </a:lnTo>
                <a:lnTo>
                  <a:pt x="5650" y="3750"/>
                </a:lnTo>
                <a:lnTo>
                  <a:pt x="5605" y="3884"/>
                </a:lnTo>
                <a:lnTo>
                  <a:pt x="5553" y="4015"/>
                </a:lnTo>
                <a:lnTo>
                  <a:pt x="5495" y="4143"/>
                </a:lnTo>
                <a:lnTo>
                  <a:pt x="5431" y="4268"/>
                </a:lnTo>
                <a:lnTo>
                  <a:pt x="5362" y="4389"/>
                </a:lnTo>
                <a:lnTo>
                  <a:pt x="5287" y="4506"/>
                </a:lnTo>
                <a:lnTo>
                  <a:pt x="5206" y="4619"/>
                </a:lnTo>
                <a:lnTo>
                  <a:pt x="5120" y="4728"/>
                </a:lnTo>
                <a:lnTo>
                  <a:pt x="5030" y="4833"/>
                </a:lnTo>
                <a:lnTo>
                  <a:pt x="4934" y="4933"/>
                </a:lnTo>
                <a:lnTo>
                  <a:pt x="4833" y="5030"/>
                </a:lnTo>
                <a:lnTo>
                  <a:pt x="4728" y="5120"/>
                </a:lnTo>
                <a:lnTo>
                  <a:pt x="4619" y="5206"/>
                </a:lnTo>
                <a:lnTo>
                  <a:pt x="4506" y="5287"/>
                </a:lnTo>
                <a:lnTo>
                  <a:pt x="4388" y="5362"/>
                </a:lnTo>
                <a:lnTo>
                  <a:pt x="4268" y="5431"/>
                </a:lnTo>
                <a:lnTo>
                  <a:pt x="4143" y="5495"/>
                </a:lnTo>
                <a:lnTo>
                  <a:pt x="4015" y="5553"/>
                </a:lnTo>
                <a:lnTo>
                  <a:pt x="3884" y="5605"/>
                </a:lnTo>
                <a:lnTo>
                  <a:pt x="3749" y="5650"/>
                </a:lnTo>
                <a:lnTo>
                  <a:pt x="3612" y="5690"/>
                </a:lnTo>
                <a:lnTo>
                  <a:pt x="3472" y="5722"/>
                </a:lnTo>
                <a:lnTo>
                  <a:pt x="3331" y="5747"/>
                </a:lnTo>
                <a:lnTo>
                  <a:pt x="3185" y="5766"/>
                </a:lnTo>
                <a:lnTo>
                  <a:pt x="3039" y="5777"/>
                </a:lnTo>
                <a:lnTo>
                  <a:pt x="2890" y="5780"/>
                </a:lnTo>
                <a:lnTo>
                  <a:pt x="2741" y="5777"/>
                </a:lnTo>
                <a:lnTo>
                  <a:pt x="2594" y="5766"/>
                </a:lnTo>
                <a:lnTo>
                  <a:pt x="2450" y="5747"/>
                </a:lnTo>
                <a:lnTo>
                  <a:pt x="2307" y="5722"/>
                </a:lnTo>
                <a:lnTo>
                  <a:pt x="2168" y="5690"/>
                </a:lnTo>
                <a:lnTo>
                  <a:pt x="2030" y="5650"/>
                </a:lnTo>
                <a:lnTo>
                  <a:pt x="1896" y="5605"/>
                </a:lnTo>
                <a:lnTo>
                  <a:pt x="1765" y="5553"/>
                </a:lnTo>
                <a:lnTo>
                  <a:pt x="1637" y="5495"/>
                </a:lnTo>
                <a:lnTo>
                  <a:pt x="1512" y="5431"/>
                </a:lnTo>
                <a:lnTo>
                  <a:pt x="1391" y="5362"/>
                </a:lnTo>
                <a:lnTo>
                  <a:pt x="1274" y="5287"/>
                </a:lnTo>
                <a:lnTo>
                  <a:pt x="1160" y="5206"/>
                </a:lnTo>
                <a:lnTo>
                  <a:pt x="1052" y="5120"/>
                </a:lnTo>
                <a:lnTo>
                  <a:pt x="947" y="5030"/>
                </a:lnTo>
                <a:lnTo>
                  <a:pt x="847" y="4933"/>
                </a:lnTo>
                <a:lnTo>
                  <a:pt x="750" y="4833"/>
                </a:lnTo>
                <a:lnTo>
                  <a:pt x="660" y="4728"/>
                </a:lnTo>
                <a:lnTo>
                  <a:pt x="574" y="4619"/>
                </a:lnTo>
                <a:lnTo>
                  <a:pt x="493" y="4506"/>
                </a:lnTo>
                <a:lnTo>
                  <a:pt x="418" y="4389"/>
                </a:lnTo>
                <a:lnTo>
                  <a:pt x="349" y="4268"/>
                </a:lnTo>
                <a:lnTo>
                  <a:pt x="285" y="4143"/>
                </a:lnTo>
                <a:lnTo>
                  <a:pt x="227" y="4015"/>
                </a:lnTo>
                <a:lnTo>
                  <a:pt x="175" y="3884"/>
                </a:lnTo>
                <a:lnTo>
                  <a:pt x="129" y="3750"/>
                </a:lnTo>
                <a:lnTo>
                  <a:pt x="90" y="3612"/>
                </a:lnTo>
                <a:lnTo>
                  <a:pt x="58" y="3473"/>
                </a:lnTo>
                <a:lnTo>
                  <a:pt x="33" y="3330"/>
                </a:lnTo>
                <a:lnTo>
                  <a:pt x="14" y="3186"/>
                </a:lnTo>
                <a:lnTo>
                  <a:pt x="3" y="3039"/>
                </a:lnTo>
                <a:lnTo>
                  <a:pt x="0" y="2890"/>
                </a:lnTo>
                <a:lnTo>
                  <a:pt x="3" y="2741"/>
                </a:lnTo>
                <a:lnTo>
                  <a:pt x="14" y="2594"/>
                </a:lnTo>
                <a:lnTo>
                  <a:pt x="33" y="2450"/>
                </a:lnTo>
                <a:lnTo>
                  <a:pt x="58" y="2307"/>
                </a:lnTo>
                <a:lnTo>
                  <a:pt x="90" y="2168"/>
                </a:lnTo>
                <a:lnTo>
                  <a:pt x="129" y="2030"/>
                </a:lnTo>
                <a:lnTo>
                  <a:pt x="175" y="1896"/>
                </a:lnTo>
                <a:lnTo>
                  <a:pt x="227" y="1765"/>
                </a:lnTo>
                <a:lnTo>
                  <a:pt x="285" y="1637"/>
                </a:lnTo>
                <a:lnTo>
                  <a:pt x="349" y="1512"/>
                </a:lnTo>
                <a:lnTo>
                  <a:pt x="418" y="1391"/>
                </a:lnTo>
                <a:lnTo>
                  <a:pt x="493" y="1274"/>
                </a:lnTo>
                <a:lnTo>
                  <a:pt x="574" y="1161"/>
                </a:lnTo>
                <a:lnTo>
                  <a:pt x="660" y="1052"/>
                </a:lnTo>
                <a:lnTo>
                  <a:pt x="750" y="947"/>
                </a:lnTo>
                <a:lnTo>
                  <a:pt x="847" y="847"/>
                </a:lnTo>
                <a:lnTo>
                  <a:pt x="947" y="750"/>
                </a:lnTo>
                <a:lnTo>
                  <a:pt x="1052" y="660"/>
                </a:lnTo>
                <a:lnTo>
                  <a:pt x="1160" y="574"/>
                </a:lnTo>
                <a:lnTo>
                  <a:pt x="1274" y="493"/>
                </a:lnTo>
                <a:lnTo>
                  <a:pt x="1391" y="418"/>
                </a:lnTo>
                <a:lnTo>
                  <a:pt x="1512" y="349"/>
                </a:lnTo>
                <a:lnTo>
                  <a:pt x="1637" y="285"/>
                </a:lnTo>
                <a:lnTo>
                  <a:pt x="1765" y="227"/>
                </a:lnTo>
                <a:lnTo>
                  <a:pt x="1896" y="175"/>
                </a:lnTo>
                <a:lnTo>
                  <a:pt x="2030" y="130"/>
                </a:lnTo>
                <a:lnTo>
                  <a:pt x="2168" y="90"/>
                </a:lnTo>
                <a:lnTo>
                  <a:pt x="2307" y="58"/>
                </a:lnTo>
                <a:lnTo>
                  <a:pt x="2450" y="33"/>
                </a:lnTo>
                <a:lnTo>
                  <a:pt x="2594" y="14"/>
                </a:lnTo>
                <a:lnTo>
                  <a:pt x="2741" y="3"/>
                </a:lnTo>
                <a:lnTo>
                  <a:pt x="289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4586273" y="2707967"/>
            <a:ext cx="989030" cy="989029"/>
          </a:xfrm>
          <a:custGeom>
            <a:avLst/>
            <a:gdLst>
              <a:gd name="T0" fmla="*/ 3788 w 4712"/>
              <a:gd name="T1" fmla="*/ 946 h 4713"/>
              <a:gd name="T2" fmla="*/ 3840 w 4712"/>
              <a:gd name="T3" fmla="*/ 2027 h 4713"/>
              <a:gd name="T4" fmla="*/ 3942 w 4712"/>
              <a:gd name="T5" fmla="*/ 2176 h 4713"/>
              <a:gd name="T6" fmla="*/ 4038 w 4712"/>
              <a:gd name="T7" fmla="*/ 2329 h 4713"/>
              <a:gd name="T8" fmla="*/ 4127 w 4712"/>
              <a:gd name="T9" fmla="*/ 2486 h 4713"/>
              <a:gd name="T10" fmla="*/ 4212 w 4712"/>
              <a:gd name="T11" fmla="*/ 2647 h 4713"/>
              <a:gd name="T12" fmla="*/ 4289 w 4712"/>
              <a:gd name="T13" fmla="*/ 2812 h 4713"/>
              <a:gd name="T14" fmla="*/ 4362 w 4712"/>
              <a:gd name="T15" fmla="*/ 2979 h 4713"/>
              <a:gd name="T16" fmla="*/ 4427 w 4712"/>
              <a:gd name="T17" fmla="*/ 3149 h 4713"/>
              <a:gd name="T18" fmla="*/ 4487 w 4712"/>
              <a:gd name="T19" fmla="*/ 3324 h 4713"/>
              <a:gd name="T20" fmla="*/ 4540 w 4712"/>
              <a:gd name="T21" fmla="*/ 3500 h 4713"/>
              <a:gd name="T22" fmla="*/ 4586 w 4712"/>
              <a:gd name="T23" fmla="*/ 3680 h 4713"/>
              <a:gd name="T24" fmla="*/ 4625 w 4712"/>
              <a:gd name="T25" fmla="*/ 3863 h 4713"/>
              <a:gd name="T26" fmla="*/ 4657 w 4712"/>
              <a:gd name="T27" fmla="*/ 4048 h 4713"/>
              <a:gd name="T28" fmla="*/ 4682 w 4712"/>
              <a:gd name="T29" fmla="*/ 4236 h 4713"/>
              <a:gd name="T30" fmla="*/ 4700 w 4712"/>
              <a:gd name="T31" fmla="*/ 4425 h 4713"/>
              <a:gd name="T32" fmla="*/ 4710 w 4712"/>
              <a:gd name="T33" fmla="*/ 4617 h 4713"/>
              <a:gd name="T34" fmla="*/ 3054 w 4712"/>
              <a:gd name="T35" fmla="*/ 4713 h 4713"/>
              <a:gd name="T36" fmla="*/ 3033 w 4712"/>
              <a:gd name="T37" fmla="*/ 4404 h 4713"/>
              <a:gd name="T38" fmla="*/ 2981 w 4712"/>
              <a:gd name="T39" fmla="*/ 4103 h 4713"/>
              <a:gd name="T40" fmla="*/ 2903 w 4712"/>
              <a:gd name="T41" fmla="*/ 3813 h 4713"/>
              <a:gd name="T42" fmla="*/ 2797 w 4712"/>
              <a:gd name="T43" fmla="*/ 3536 h 4713"/>
              <a:gd name="T44" fmla="*/ 2667 w 4712"/>
              <a:gd name="T45" fmla="*/ 3271 h 4713"/>
              <a:gd name="T46" fmla="*/ 2513 w 4712"/>
              <a:gd name="T47" fmla="*/ 3021 h 4713"/>
              <a:gd name="T48" fmla="*/ 2338 w 4712"/>
              <a:gd name="T49" fmla="*/ 2788 h 4713"/>
              <a:gd name="T50" fmla="*/ 2141 w 4712"/>
              <a:gd name="T51" fmla="*/ 2572 h 4713"/>
              <a:gd name="T52" fmla="*/ 1925 w 4712"/>
              <a:gd name="T53" fmla="*/ 2376 h 4713"/>
              <a:gd name="T54" fmla="*/ 1692 w 4712"/>
              <a:gd name="T55" fmla="*/ 2200 h 4713"/>
              <a:gd name="T56" fmla="*/ 1442 w 4712"/>
              <a:gd name="T57" fmla="*/ 2045 h 4713"/>
              <a:gd name="T58" fmla="*/ 1177 w 4712"/>
              <a:gd name="T59" fmla="*/ 1915 h 4713"/>
              <a:gd name="T60" fmla="*/ 899 w 4712"/>
              <a:gd name="T61" fmla="*/ 1810 h 4713"/>
              <a:gd name="T62" fmla="*/ 610 w 4712"/>
              <a:gd name="T63" fmla="*/ 1731 h 4713"/>
              <a:gd name="T64" fmla="*/ 310 w 4712"/>
              <a:gd name="T65" fmla="*/ 1680 h 4713"/>
              <a:gd name="T66" fmla="*/ 0 w 4712"/>
              <a:gd name="T67" fmla="*/ 1658 h 4713"/>
              <a:gd name="T68" fmla="*/ 98 w 4712"/>
              <a:gd name="T69" fmla="*/ 2 h 4713"/>
              <a:gd name="T70" fmla="*/ 292 w 4712"/>
              <a:gd name="T71" fmla="*/ 13 h 4713"/>
              <a:gd name="T72" fmla="*/ 483 w 4712"/>
              <a:gd name="T73" fmla="*/ 31 h 4713"/>
              <a:gd name="T74" fmla="*/ 673 w 4712"/>
              <a:gd name="T75" fmla="*/ 57 h 4713"/>
              <a:gd name="T76" fmla="*/ 859 w 4712"/>
              <a:gd name="T77" fmla="*/ 89 h 4713"/>
              <a:gd name="T78" fmla="*/ 1045 w 4712"/>
              <a:gd name="T79" fmla="*/ 130 h 4713"/>
              <a:gd name="T80" fmla="*/ 1226 w 4712"/>
              <a:gd name="T81" fmla="*/ 176 h 4713"/>
              <a:gd name="T82" fmla="*/ 1405 w 4712"/>
              <a:gd name="T83" fmla="*/ 230 h 4713"/>
              <a:gd name="T84" fmla="*/ 1580 w 4712"/>
              <a:gd name="T85" fmla="*/ 291 h 4713"/>
              <a:gd name="T86" fmla="*/ 1754 w 4712"/>
              <a:gd name="T87" fmla="*/ 359 h 4713"/>
              <a:gd name="T88" fmla="*/ 1922 w 4712"/>
              <a:gd name="T89" fmla="*/ 432 h 4713"/>
              <a:gd name="T90" fmla="*/ 2088 w 4712"/>
              <a:gd name="T91" fmla="*/ 512 h 4713"/>
              <a:gd name="T92" fmla="*/ 2250 w 4712"/>
              <a:gd name="T93" fmla="*/ 598 h 4713"/>
              <a:gd name="T94" fmla="*/ 2409 w 4712"/>
              <a:gd name="T95" fmla="*/ 691 h 4713"/>
              <a:gd name="T96" fmla="*/ 2564 w 4712"/>
              <a:gd name="T97" fmla="*/ 788 h 4713"/>
              <a:gd name="T98" fmla="*/ 2714 w 4712"/>
              <a:gd name="T99" fmla="*/ 892 h 4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12" h="4713">
                <a:moveTo>
                  <a:pt x="2788" y="946"/>
                </a:moveTo>
                <a:lnTo>
                  <a:pt x="3788" y="946"/>
                </a:lnTo>
                <a:lnTo>
                  <a:pt x="3788" y="1953"/>
                </a:lnTo>
                <a:lnTo>
                  <a:pt x="3840" y="2027"/>
                </a:lnTo>
                <a:lnTo>
                  <a:pt x="3892" y="2101"/>
                </a:lnTo>
                <a:lnTo>
                  <a:pt x="3942" y="2176"/>
                </a:lnTo>
                <a:lnTo>
                  <a:pt x="3990" y="2252"/>
                </a:lnTo>
                <a:lnTo>
                  <a:pt x="4038" y="2329"/>
                </a:lnTo>
                <a:lnTo>
                  <a:pt x="4083" y="2408"/>
                </a:lnTo>
                <a:lnTo>
                  <a:pt x="4127" y="2486"/>
                </a:lnTo>
                <a:lnTo>
                  <a:pt x="4170" y="2567"/>
                </a:lnTo>
                <a:lnTo>
                  <a:pt x="4212" y="2647"/>
                </a:lnTo>
                <a:lnTo>
                  <a:pt x="4252" y="2729"/>
                </a:lnTo>
                <a:lnTo>
                  <a:pt x="4289" y="2812"/>
                </a:lnTo>
                <a:lnTo>
                  <a:pt x="4327" y="2894"/>
                </a:lnTo>
                <a:lnTo>
                  <a:pt x="4362" y="2979"/>
                </a:lnTo>
                <a:lnTo>
                  <a:pt x="4395" y="3064"/>
                </a:lnTo>
                <a:lnTo>
                  <a:pt x="4427" y="3149"/>
                </a:lnTo>
                <a:lnTo>
                  <a:pt x="4458" y="3237"/>
                </a:lnTo>
                <a:lnTo>
                  <a:pt x="4487" y="3324"/>
                </a:lnTo>
                <a:lnTo>
                  <a:pt x="4515" y="3412"/>
                </a:lnTo>
                <a:lnTo>
                  <a:pt x="4540" y="3500"/>
                </a:lnTo>
                <a:lnTo>
                  <a:pt x="4564" y="3591"/>
                </a:lnTo>
                <a:lnTo>
                  <a:pt x="4586" y="3680"/>
                </a:lnTo>
                <a:lnTo>
                  <a:pt x="4606" y="3772"/>
                </a:lnTo>
                <a:lnTo>
                  <a:pt x="4625" y="3863"/>
                </a:lnTo>
                <a:lnTo>
                  <a:pt x="4642" y="3955"/>
                </a:lnTo>
                <a:lnTo>
                  <a:pt x="4657" y="4048"/>
                </a:lnTo>
                <a:lnTo>
                  <a:pt x="4670" y="4141"/>
                </a:lnTo>
                <a:lnTo>
                  <a:pt x="4682" y="4236"/>
                </a:lnTo>
                <a:lnTo>
                  <a:pt x="4692" y="4330"/>
                </a:lnTo>
                <a:lnTo>
                  <a:pt x="4700" y="4425"/>
                </a:lnTo>
                <a:lnTo>
                  <a:pt x="4706" y="4521"/>
                </a:lnTo>
                <a:lnTo>
                  <a:pt x="4710" y="4617"/>
                </a:lnTo>
                <a:lnTo>
                  <a:pt x="4712" y="4713"/>
                </a:lnTo>
                <a:lnTo>
                  <a:pt x="3054" y="4713"/>
                </a:lnTo>
                <a:lnTo>
                  <a:pt x="3047" y="4557"/>
                </a:lnTo>
                <a:lnTo>
                  <a:pt x="3033" y="4404"/>
                </a:lnTo>
                <a:lnTo>
                  <a:pt x="3011" y="4252"/>
                </a:lnTo>
                <a:lnTo>
                  <a:pt x="2981" y="4103"/>
                </a:lnTo>
                <a:lnTo>
                  <a:pt x="2946" y="3956"/>
                </a:lnTo>
                <a:lnTo>
                  <a:pt x="2903" y="3813"/>
                </a:lnTo>
                <a:lnTo>
                  <a:pt x="2853" y="3673"/>
                </a:lnTo>
                <a:lnTo>
                  <a:pt x="2797" y="3536"/>
                </a:lnTo>
                <a:lnTo>
                  <a:pt x="2735" y="3401"/>
                </a:lnTo>
                <a:lnTo>
                  <a:pt x="2667" y="3271"/>
                </a:lnTo>
                <a:lnTo>
                  <a:pt x="2593" y="3144"/>
                </a:lnTo>
                <a:lnTo>
                  <a:pt x="2513" y="3021"/>
                </a:lnTo>
                <a:lnTo>
                  <a:pt x="2428" y="2902"/>
                </a:lnTo>
                <a:lnTo>
                  <a:pt x="2338" y="2788"/>
                </a:lnTo>
                <a:lnTo>
                  <a:pt x="2242" y="2678"/>
                </a:lnTo>
                <a:lnTo>
                  <a:pt x="2141" y="2572"/>
                </a:lnTo>
                <a:lnTo>
                  <a:pt x="2035" y="2472"/>
                </a:lnTo>
                <a:lnTo>
                  <a:pt x="1925" y="2376"/>
                </a:lnTo>
                <a:lnTo>
                  <a:pt x="1810" y="2285"/>
                </a:lnTo>
                <a:lnTo>
                  <a:pt x="1692" y="2200"/>
                </a:lnTo>
                <a:lnTo>
                  <a:pt x="1568" y="2120"/>
                </a:lnTo>
                <a:lnTo>
                  <a:pt x="1442" y="2045"/>
                </a:lnTo>
                <a:lnTo>
                  <a:pt x="1311" y="1978"/>
                </a:lnTo>
                <a:lnTo>
                  <a:pt x="1177" y="1915"/>
                </a:lnTo>
                <a:lnTo>
                  <a:pt x="1040" y="1860"/>
                </a:lnTo>
                <a:lnTo>
                  <a:pt x="899" y="1810"/>
                </a:lnTo>
                <a:lnTo>
                  <a:pt x="756" y="1767"/>
                </a:lnTo>
                <a:lnTo>
                  <a:pt x="610" y="1731"/>
                </a:lnTo>
                <a:lnTo>
                  <a:pt x="461" y="1702"/>
                </a:lnTo>
                <a:lnTo>
                  <a:pt x="310" y="1680"/>
                </a:lnTo>
                <a:lnTo>
                  <a:pt x="156" y="1666"/>
                </a:lnTo>
                <a:lnTo>
                  <a:pt x="0" y="1658"/>
                </a:lnTo>
                <a:lnTo>
                  <a:pt x="0" y="0"/>
                </a:lnTo>
                <a:lnTo>
                  <a:pt x="98" y="2"/>
                </a:lnTo>
                <a:lnTo>
                  <a:pt x="195" y="6"/>
                </a:lnTo>
                <a:lnTo>
                  <a:pt x="292" y="13"/>
                </a:lnTo>
                <a:lnTo>
                  <a:pt x="388" y="21"/>
                </a:lnTo>
                <a:lnTo>
                  <a:pt x="483" y="31"/>
                </a:lnTo>
                <a:lnTo>
                  <a:pt x="578" y="43"/>
                </a:lnTo>
                <a:lnTo>
                  <a:pt x="673" y="57"/>
                </a:lnTo>
                <a:lnTo>
                  <a:pt x="767" y="73"/>
                </a:lnTo>
                <a:lnTo>
                  <a:pt x="859" y="89"/>
                </a:lnTo>
                <a:lnTo>
                  <a:pt x="952" y="109"/>
                </a:lnTo>
                <a:lnTo>
                  <a:pt x="1045" y="130"/>
                </a:lnTo>
                <a:lnTo>
                  <a:pt x="1135" y="152"/>
                </a:lnTo>
                <a:lnTo>
                  <a:pt x="1226" y="176"/>
                </a:lnTo>
                <a:lnTo>
                  <a:pt x="1315" y="203"/>
                </a:lnTo>
                <a:lnTo>
                  <a:pt x="1405" y="230"/>
                </a:lnTo>
                <a:lnTo>
                  <a:pt x="1493" y="260"/>
                </a:lnTo>
                <a:lnTo>
                  <a:pt x="1580" y="291"/>
                </a:lnTo>
                <a:lnTo>
                  <a:pt x="1667" y="324"/>
                </a:lnTo>
                <a:lnTo>
                  <a:pt x="1754" y="359"/>
                </a:lnTo>
                <a:lnTo>
                  <a:pt x="1839" y="395"/>
                </a:lnTo>
                <a:lnTo>
                  <a:pt x="1922" y="432"/>
                </a:lnTo>
                <a:lnTo>
                  <a:pt x="2006" y="471"/>
                </a:lnTo>
                <a:lnTo>
                  <a:pt x="2088" y="512"/>
                </a:lnTo>
                <a:lnTo>
                  <a:pt x="2170" y="555"/>
                </a:lnTo>
                <a:lnTo>
                  <a:pt x="2250" y="598"/>
                </a:lnTo>
                <a:lnTo>
                  <a:pt x="2331" y="643"/>
                </a:lnTo>
                <a:lnTo>
                  <a:pt x="2409" y="691"/>
                </a:lnTo>
                <a:lnTo>
                  <a:pt x="2487" y="738"/>
                </a:lnTo>
                <a:lnTo>
                  <a:pt x="2564" y="788"/>
                </a:lnTo>
                <a:lnTo>
                  <a:pt x="2640" y="840"/>
                </a:lnTo>
                <a:lnTo>
                  <a:pt x="2714" y="892"/>
                </a:lnTo>
                <a:lnTo>
                  <a:pt x="2788" y="946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5" name="Freeform 9"/>
          <p:cNvSpPr>
            <a:spLocks/>
          </p:cNvSpPr>
          <p:nvPr/>
        </p:nvSpPr>
        <p:spPr bwMode="auto">
          <a:xfrm>
            <a:off x="4586273" y="3725542"/>
            <a:ext cx="989030" cy="989029"/>
          </a:xfrm>
          <a:custGeom>
            <a:avLst/>
            <a:gdLst>
              <a:gd name="T0" fmla="*/ 3788 w 4712"/>
              <a:gd name="T1" fmla="*/ 3777 h 4713"/>
              <a:gd name="T2" fmla="*/ 3840 w 4712"/>
              <a:gd name="T3" fmla="*/ 2686 h 4713"/>
              <a:gd name="T4" fmla="*/ 3942 w 4712"/>
              <a:gd name="T5" fmla="*/ 2537 h 4713"/>
              <a:gd name="T6" fmla="*/ 4038 w 4712"/>
              <a:gd name="T7" fmla="*/ 2384 h 4713"/>
              <a:gd name="T8" fmla="*/ 4127 w 4712"/>
              <a:gd name="T9" fmla="*/ 2227 h 4713"/>
              <a:gd name="T10" fmla="*/ 4212 w 4712"/>
              <a:gd name="T11" fmla="*/ 2066 h 4713"/>
              <a:gd name="T12" fmla="*/ 4289 w 4712"/>
              <a:gd name="T13" fmla="*/ 1901 h 4713"/>
              <a:gd name="T14" fmla="*/ 4362 w 4712"/>
              <a:gd name="T15" fmla="*/ 1734 h 4713"/>
              <a:gd name="T16" fmla="*/ 4427 w 4712"/>
              <a:gd name="T17" fmla="*/ 1562 h 4713"/>
              <a:gd name="T18" fmla="*/ 4487 w 4712"/>
              <a:gd name="T19" fmla="*/ 1389 h 4713"/>
              <a:gd name="T20" fmla="*/ 4540 w 4712"/>
              <a:gd name="T21" fmla="*/ 1213 h 4713"/>
              <a:gd name="T22" fmla="*/ 4586 w 4712"/>
              <a:gd name="T23" fmla="*/ 1033 h 4713"/>
              <a:gd name="T24" fmla="*/ 4625 w 4712"/>
              <a:gd name="T25" fmla="*/ 850 h 4713"/>
              <a:gd name="T26" fmla="*/ 4657 w 4712"/>
              <a:gd name="T27" fmla="*/ 665 h 4713"/>
              <a:gd name="T28" fmla="*/ 4682 w 4712"/>
              <a:gd name="T29" fmla="*/ 477 h 4713"/>
              <a:gd name="T30" fmla="*/ 4700 w 4712"/>
              <a:gd name="T31" fmla="*/ 288 h 4713"/>
              <a:gd name="T32" fmla="*/ 4710 w 4712"/>
              <a:gd name="T33" fmla="*/ 96 h 4713"/>
              <a:gd name="T34" fmla="*/ 3054 w 4712"/>
              <a:gd name="T35" fmla="*/ 0 h 4713"/>
              <a:gd name="T36" fmla="*/ 3033 w 4712"/>
              <a:gd name="T37" fmla="*/ 309 h 4713"/>
              <a:gd name="T38" fmla="*/ 2981 w 4712"/>
              <a:gd name="T39" fmla="*/ 610 h 4713"/>
              <a:gd name="T40" fmla="*/ 2903 w 4712"/>
              <a:gd name="T41" fmla="*/ 900 h 4713"/>
              <a:gd name="T42" fmla="*/ 2797 w 4712"/>
              <a:gd name="T43" fmla="*/ 1177 h 4713"/>
              <a:gd name="T44" fmla="*/ 2667 w 4712"/>
              <a:gd name="T45" fmla="*/ 1442 h 4713"/>
              <a:gd name="T46" fmla="*/ 2513 w 4712"/>
              <a:gd name="T47" fmla="*/ 1692 h 4713"/>
              <a:gd name="T48" fmla="*/ 2338 w 4712"/>
              <a:gd name="T49" fmla="*/ 1925 h 4713"/>
              <a:gd name="T50" fmla="*/ 2141 w 4712"/>
              <a:gd name="T51" fmla="*/ 2141 h 4713"/>
              <a:gd name="T52" fmla="*/ 1925 w 4712"/>
              <a:gd name="T53" fmla="*/ 2337 h 4713"/>
              <a:gd name="T54" fmla="*/ 1692 w 4712"/>
              <a:gd name="T55" fmla="*/ 2513 h 4713"/>
              <a:gd name="T56" fmla="*/ 1442 w 4712"/>
              <a:gd name="T57" fmla="*/ 2668 h 4713"/>
              <a:gd name="T58" fmla="*/ 1177 w 4712"/>
              <a:gd name="T59" fmla="*/ 2798 h 4713"/>
              <a:gd name="T60" fmla="*/ 899 w 4712"/>
              <a:gd name="T61" fmla="*/ 2903 h 4713"/>
              <a:gd name="T62" fmla="*/ 610 w 4712"/>
              <a:gd name="T63" fmla="*/ 2982 h 4713"/>
              <a:gd name="T64" fmla="*/ 310 w 4712"/>
              <a:gd name="T65" fmla="*/ 3033 h 4713"/>
              <a:gd name="T66" fmla="*/ 0 w 4712"/>
              <a:gd name="T67" fmla="*/ 3055 h 4713"/>
              <a:gd name="T68" fmla="*/ 98 w 4712"/>
              <a:gd name="T69" fmla="*/ 4711 h 4713"/>
              <a:gd name="T70" fmla="*/ 290 w 4712"/>
              <a:gd name="T71" fmla="*/ 4700 h 4713"/>
              <a:gd name="T72" fmla="*/ 481 w 4712"/>
              <a:gd name="T73" fmla="*/ 4682 h 4713"/>
              <a:gd name="T74" fmla="*/ 669 w 4712"/>
              <a:gd name="T75" fmla="*/ 4657 h 4713"/>
              <a:gd name="T76" fmla="*/ 855 w 4712"/>
              <a:gd name="T77" fmla="*/ 4625 h 4713"/>
              <a:gd name="T78" fmla="*/ 1038 w 4712"/>
              <a:gd name="T79" fmla="*/ 4585 h 4713"/>
              <a:gd name="T80" fmla="*/ 1219 w 4712"/>
              <a:gd name="T81" fmla="*/ 4538 h 4713"/>
              <a:gd name="T82" fmla="*/ 1397 w 4712"/>
              <a:gd name="T83" fmla="*/ 4485 h 4713"/>
              <a:gd name="T84" fmla="*/ 1572 w 4712"/>
              <a:gd name="T85" fmla="*/ 4425 h 4713"/>
              <a:gd name="T86" fmla="*/ 1745 w 4712"/>
              <a:gd name="T87" fmla="*/ 4358 h 4713"/>
              <a:gd name="T88" fmla="*/ 1913 w 4712"/>
              <a:gd name="T89" fmla="*/ 4285 h 4713"/>
              <a:gd name="T90" fmla="*/ 2078 w 4712"/>
              <a:gd name="T91" fmla="*/ 4205 h 4713"/>
              <a:gd name="T92" fmla="*/ 2239 w 4712"/>
              <a:gd name="T93" fmla="*/ 4120 h 4713"/>
              <a:gd name="T94" fmla="*/ 2397 w 4712"/>
              <a:gd name="T95" fmla="*/ 4030 h 4713"/>
              <a:gd name="T96" fmla="*/ 2552 w 4712"/>
              <a:gd name="T97" fmla="*/ 3933 h 4713"/>
              <a:gd name="T98" fmla="*/ 2701 w 4712"/>
              <a:gd name="T99" fmla="*/ 3830 h 4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712" h="4713">
                <a:moveTo>
                  <a:pt x="2775" y="3777"/>
                </a:moveTo>
                <a:lnTo>
                  <a:pt x="3788" y="3777"/>
                </a:lnTo>
                <a:lnTo>
                  <a:pt x="3788" y="2760"/>
                </a:lnTo>
                <a:lnTo>
                  <a:pt x="3840" y="2686"/>
                </a:lnTo>
                <a:lnTo>
                  <a:pt x="3892" y="2612"/>
                </a:lnTo>
                <a:lnTo>
                  <a:pt x="3942" y="2537"/>
                </a:lnTo>
                <a:lnTo>
                  <a:pt x="3990" y="2461"/>
                </a:lnTo>
                <a:lnTo>
                  <a:pt x="4038" y="2384"/>
                </a:lnTo>
                <a:lnTo>
                  <a:pt x="4083" y="2305"/>
                </a:lnTo>
                <a:lnTo>
                  <a:pt x="4127" y="2227"/>
                </a:lnTo>
                <a:lnTo>
                  <a:pt x="4170" y="2146"/>
                </a:lnTo>
                <a:lnTo>
                  <a:pt x="4212" y="2066"/>
                </a:lnTo>
                <a:lnTo>
                  <a:pt x="4252" y="1984"/>
                </a:lnTo>
                <a:lnTo>
                  <a:pt x="4289" y="1901"/>
                </a:lnTo>
                <a:lnTo>
                  <a:pt x="4327" y="1819"/>
                </a:lnTo>
                <a:lnTo>
                  <a:pt x="4362" y="1734"/>
                </a:lnTo>
                <a:lnTo>
                  <a:pt x="4395" y="1649"/>
                </a:lnTo>
                <a:lnTo>
                  <a:pt x="4427" y="1562"/>
                </a:lnTo>
                <a:lnTo>
                  <a:pt x="4458" y="1476"/>
                </a:lnTo>
                <a:lnTo>
                  <a:pt x="4487" y="1389"/>
                </a:lnTo>
                <a:lnTo>
                  <a:pt x="4515" y="1301"/>
                </a:lnTo>
                <a:lnTo>
                  <a:pt x="4540" y="1213"/>
                </a:lnTo>
                <a:lnTo>
                  <a:pt x="4564" y="1122"/>
                </a:lnTo>
                <a:lnTo>
                  <a:pt x="4586" y="1033"/>
                </a:lnTo>
                <a:lnTo>
                  <a:pt x="4606" y="941"/>
                </a:lnTo>
                <a:lnTo>
                  <a:pt x="4625" y="850"/>
                </a:lnTo>
                <a:lnTo>
                  <a:pt x="4642" y="758"/>
                </a:lnTo>
                <a:lnTo>
                  <a:pt x="4657" y="665"/>
                </a:lnTo>
                <a:lnTo>
                  <a:pt x="4670" y="572"/>
                </a:lnTo>
                <a:lnTo>
                  <a:pt x="4682" y="477"/>
                </a:lnTo>
                <a:lnTo>
                  <a:pt x="4692" y="383"/>
                </a:lnTo>
                <a:lnTo>
                  <a:pt x="4700" y="288"/>
                </a:lnTo>
                <a:lnTo>
                  <a:pt x="4706" y="192"/>
                </a:lnTo>
                <a:lnTo>
                  <a:pt x="4710" y="96"/>
                </a:lnTo>
                <a:lnTo>
                  <a:pt x="4712" y="0"/>
                </a:lnTo>
                <a:lnTo>
                  <a:pt x="3054" y="0"/>
                </a:lnTo>
                <a:lnTo>
                  <a:pt x="3047" y="156"/>
                </a:lnTo>
                <a:lnTo>
                  <a:pt x="3033" y="309"/>
                </a:lnTo>
                <a:lnTo>
                  <a:pt x="3011" y="461"/>
                </a:lnTo>
                <a:lnTo>
                  <a:pt x="2981" y="610"/>
                </a:lnTo>
                <a:lnTo>
                  <a:pt x="2946" y="757"/>
                </a:lnTo>
                <a:lnTo>
                  <a:pt x="2903" y="900"/>
                </a:lnTo>
                <a:lnTo>
                  <a:pt x="2853" y="1040"/>
                </a:lnTo>
                <a:lnTo>
                  <a:pt x="2797" y="1177"/>
                </a:lnTo>
                <a:lnTo>
                  <a:pt x="2735" y="1312"/>
                </a:lnTo>
                <a:lnTo>
                  <a:pt x="2667" y="1442"/>
                </a:lnTo>
                <a:lnTo>
                  <a:pt x="2593" y="1569"/>
                </a:lnTo>
                <a:lnTo>
                  <a:pt x="2513" y="1692"/>
                </a:lnTo>
                <a:lnTo>
                  <a:pt x="2428" y="1811"/>
                </a:lnTo>
                <a:lnTo>
                  <a:pt x="2338" y="1925"/>
                </a:lnTo>
                <a:lnTo>
                  <a:pt x="2242" y="2035"/>
                </a:lnTo>
                <a:lnTo>
                  <a:pt x="2141" y="2141"/>
                </a:lnTo>
                <a:lnTo>
                  <a:pt x="2035" y="2241"/>
                </a:lnTo>
                <a:lnTo>
                  <a:pt x="1925" y="2337"/>
                </a:lnTo>
                <a:lnTo>
                  <a:pt x="1810" y="2428"/>
                </a:lnTo>
                <a:lnTo>
                  <a:pt x="1692" y="2513"/>
                </a:lnTo>
                <a:lnTo>
                  <a:pt x="1568" y="2593"/>
                </a:lnTo>
                <a:lnTo>
                  <a:pt x="1442" y="2668"/>
                </a:lnTo>
                <a:lnTo>
                  <a:pt x="1311" y="2735"/>
                </a:lnTo>
                <a:lnTo>
                  <a:pt x="1177" y="2798"/>
                </a:lnTo>
                <a:lnTo>
                  <a:pt x="1040" y="2853"/>
                </a:lnTo>
                <a:lnTo>
                  <a:pt x="899" y="2903"/>
                </a:lnTo>
                <a:lnTo>
                  <a:pt x="756" y="2946"/>
                </a:lnTo>
                <a:lnTo>
                  <a:pt x="610" y="2982"/>
                </a:lnTo>
                <a:lnTo>
                  <a:pt x="461" y="3011"/>
                </a:lnTo>
                <a:lnTo>
                  <a:pt x="310" y="3033"/>
                </a:lnTo>
                <a:lnTo>
                  <a:pt x="156" y="3047"/>
                </a:lnTo>
                <a:lnTo>
                  <a:pt x="0" y="3055"/>
                </a:lnTo>
                <a:lnTo>
                  <a:pt x="0" y="4713"/>
                </a:lnTo>
                <a:lnTo>
                  <a:pt x="98" y="4711"/>
                </a:lnTo>
                <a:lnTo>
                  <a:pt x="194" y="4707"/>
                </a:lnTo>
                <a:lnTo>
                  <a:pt x="290" y="4700"/>
                </a:lnTo>
                <a:lnTo>
                  <a:pt x="386" y="4692"/>
                </a:lnTo>
                <a:lnTo>
                  <a:pt x="481" y="4682"/>
                </a:lnTo>
                <a:lnTo>
                  <a:pt x="576" y="4670"/>
                </a:lnTo>
                <a:lnTo>
                  <a:pt x="669" y="4657"/>
                </a:lnTo>
                <a:lnTo>
                  <a:pt x="762" y="4642"/>
                </a:lnTo>
                <a:lnTo>
                  <a:pt x="855" y="4625"/>
                </a:lnTo>
                <a:lnTo>
                  <a:pt x="948" y="4605"/>
                </a:lnTo>
                <a:lnTo>
                  <a:pt x="1038" y="4585"/>
                </a:lnTo>
                <a:lnTo>
                  <a:pt x="1130" y="4562"/>
                </a:lnTo>
                <a:lnTo>
                  <a:pt x="1219" y="4538"/>
                </a:lnTo>
                <a:lnTo>
                  <a:pt x="1309" y="4512"/>
                </a:lnTo>
                <a:lnTo>
                  <a:pt x="1397" y="4485"/>
                </a:lnTo>
                <a:lnTo>
                  <a:pt x="1485" y="4456"/>
                </a:lnTo>
                <a:lnTo>
                  <a:pt x="1572" y="4425"/>
                </a:lnTo>
                <a:lnTo>
                  <a:pt x="1659" y="4392"/>
                </a:lnTo>
                <a:lnTo>
                  <a:pt x="1745" y="4358"/>
                </a:lnTo>
                <a:lnTo>
                  <a:pt x="1829" y="4322"/>
                </a:lnTo>
                <a:lnTo>
                  <a:pt x="1913" y="4285"/>
                </a:lnTo>
                <a:lnTo>
                  <a:pt x="1995" y="4246"/>
                </a:lnTo>
                <a:lnTo>
                  <a:pt x="2078" y="4205"/>
                </a:lnTo>
                <a:lnTo>
                  <a:pt x="2159" y="4165"/>
                </a:lnTo>
                <a:lnTo>
                  <a:pt x="2239" y="4120"/>
                </a:lnTo>
                <a:lnTo>
                  <a:pt x="2319" y="4076"/>
                </a:lnTo>
                <a:lnTo>
                  <a:pt x="2397" y="4030"/>
                </a:lnTo>
                <a:lnTo>
                  <a:pt x="2474" y="3982"/>
                </a:lnTo>
                <a:lnTo>
                  <a:pt x="2552" y="3933"/>
                </a:lnTo>
                <a:lnTo>
                  <a:pt x="2627" y="3882"/>
                </a:lnTo>
                <a:lnTo>
                  <a:pt x="2701" y="3830"/>
                </a:lnTo>
                <a:lnTo>
                  <a:pt x="2775" y="3777"/>
                </a:lnTo>
                <a:close/>
              </a:path>
            </a:pathLst>
          </a:cu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40" name="Freeform 7"/>
          <p:cNvSpPr>
            <a:spLocks/>
          </p:cNvSpPr>
          <p:nvPr/>
        </p:nvSpPr>
        <p:spPr bwMode="auto">
          <a:xfrm>
            <a:off x="641954" y="2128152"/>
            <a:ext cx="646434" cy="646432"/>
          </a:xfrm>
          <a:custGeom>
            <a:avLst/>
            <a:gdLst>
              <a:gd name="T0" fmla="*/ 3185 w 5780"/>
              <a:gd name="T1" fmla="*/ 14 h 5780"/>
              <a:gd name="T2" fmla="*/ 3612 w 5780"/>
              <a:gd name="T3" fmla="*/ 90 h 5780"/>
              <a:gd name="T4" fmla="*/ 4015 w 5780"/>
              <a:gd name="T5" fmla="*/ 227 h 5780"/>
              <a:gd name="T6" fmla="*/ 4388 w 5780"/>
              <a:gd name="T7" fmla="*/ 418 h 5780"/>
              <a:gd name="T8" fmla="*/ 4728 w 5780"/>
              <a:gd name="T9" fmla="*/ 660 h 5780"/>
              <a:gd name="T10" fmla="*/ 5030 w 5780"/>
              <a:gd name="T11" fmla="*/ 947 h 5780"/>
              <a:gd name="T12" fmla="*/ 5287 w 5780"/>
              <a:gd name="T13" fmla="*/ 1274 h 5780"/>
              <a:gd name="T14" fmla="*/ 5495 w 5780"/>
              <a:gd name="T15" fmla="*/ 1637 h 5780"/>
              <a:gd name="T16" fmla="*/ 5650 w 5780"/>
              <a:gd name="T17" fmla="*/ 2030 h 5780"/>
              <a:gd name="T18" fmla="*/ 5747 w 5780"/>
              <a:gd name="T19" fmla="*/ 2450 h 5780"/>
              <a:gd name="T20" fmla="*/ 5780 w 5780"/>
              <a:gd name="T21" fmla="*/ 2890 h 5780"/>
              <a:gd name="T22" fmla="*/ 5747 w 5780"/>
              <a:gd name="T23" fmla="*/ 3330 h 5780"/>
              <a:gd name="T24" fmla="*/ 5650 w 5780"/>
              <a:gd name="T25" fmla="*/ 3750 h 5780"/>
              <a:gd name="T26" fmla="*/ 5495 w 5780"/>
              <a:gd name="T27" fmla="*/ 4143 h 5780"/>
              <a:gd name="T28" fmla="*/ 5287 w 5780"/>
              <a:gd name="T29" fmla="*/ 4506 h 5780"/>
              <a:gd name="T30" fmla="*/ 5030 w 5780"/>
              <a:gd name="T31" fmla="*/ 4833 h 5780"/>
              <a:gd name="T32" fmla="*/ 4728 w 5780"/>
              <a:gd name="T33" fmla="*/ 5120 h 5780"/>
              <a:gd name="T34" fmla="*/ 4388 w 5780"/>
              <a:gd name="T35" fmla="*/ 5362 h 5780"/>
              <a:gd name="T36" fmla="*/ 4015 w 5780"/>
              <a:gd name="T37" fmla="*/ 5553 h 5780"/>
              <a:gd name="T38" fmla="*/ 3612 w 5780"/>
              <a:gd name="T39" fmla="*/ 5690 h 5780"/>
              <a:gd name="T40" fmla="*/ 3185 w 5780"/>
              <a:gd name="T41" fmla="*/ 5766 h 5780"/>
              <a:gd name="T42" fmla="*/ 2741 w 5780"/>
              <a:gd name="T43" fmla="*/ 5777 h 5780"/>
              <a:gd name="T44" fmla="*/ 2307 w 5780"/>
              <a:gd name="T45" fmla="*/ 5722 h 5780"/>
              <a:gd name="T46" fmla="*/ 1896 w 5780"/>
              <a:gd name="T47" fmla="*/ 5605 h 5780"/>
              <a:gd name="T48" fmla="*/ 1512 w 5780"/>
              <a:gd name="T49" fmla="*/ 5431 h 5780"/>
              <a:gd name="T50" fmla="*/ 1160 w 5780"/>
              <a:gd name="T51" fmla="*/ 5206 h 5780"/>
              <a:gd name="T52" fmla="*/ 847 w 5780"/>
              <a:gd name="T53" fmla="*/ 4933 h 5780"/>
              <a:gd name="T54" fmla="*/ 574 w 5780"/>
              <a:gd name="T55" fmla="*/ 4619 h 5780"/>
              <a:gd name="T56" fmla="*/ 349 w 5780"/>
              <a:gd name="T57" fmla="*/ 4268 h 5780"/>
              <a:gd name="T58" fmla="*/ 175 w 5780"/>
              <a:gd name="T59" fmla="*/ 3884 h 5780"/>
              <a:gd name="T60" fmla="*/ 58 w 5780"/>
              <a:gd name="T61" fmla="*/ 3473 h 5780"/>
              <a:gd name="T62" fmla="*/ 3 w 5780"/>
              <a:gd name="T63" fmla="*/ 3039 h 5780"/>
              <a:gd name="T64" fmla="*/ 14 w 5780"/>
              <a:gd name="T65" fmla="*/ 2594 h 5780"/>
              <a:gd name="T66" fmla="*/ 90 w 5780"/>
              <a:gd name="T67" fmla="*/ 2168 h 5780"/>
              <a:gd name="T68" fmla="*/ 227 w 5780"/>
              <a:gd name="T69" fmla="*/ 1765 h 5780"/>
              <a:gd name="T70" fmla="*/ 418 w 5780"/>
              <a:gd name="T71" fmla="*/ 1391 h 5780"/>
              <a:gd name="T72" fmla="*/ 660 w 5780"/>
              <a:gd name="T73" fmla="*/ 1052 h 5780"/>
              <a:gd name="T74" fmla="*/ 947 w 5780"/>
              <a:gd name="T75" fmla="*/ 750 h 5780"/>
              <a:gd name="T76" fmla="*/ 1274 w 5780"/>
              <a:gd name="T77" fmla="*/ 493 h 5780"/>
              <a:gd name="T78" fmla="*/ 1637 w 5780"/>
              <a:gd name="T79" fmla="*/ 285 h 5780"/>
              <a:gd name="T80" fmla="*/ 2030 w 5780"/>
              <a:gd name="T81" fmla="*/ 130 h 5780"/>
              <a:gd name="T82" fmla="*/ 2450 w 5780"/>
              <a:gd name="T83" fmla="*/ 33 h 5780"/>
              <a:gd name="T84" fmla="*/ 2890 w 5780"/>
              <a:gd name="T85" fmla="*/ 0 h 5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80" h="5780">
                <a:moveTo>
                  <a:pt x="2890" y="0"/>
                </a:moveTo>
                <a:lnTo>
                  <a:pt x="3039" y="3"/>
                </a:lnTo>
                <a:lnTo>
                  <a:pt x="3185" y="14"/>
                </a:lnTo>
                <a:lnTo>
                  <a:pt x="3331" y="33"/>
                </a:lnTo>
                <a:lnTo>
                  <a:pt x="3472" y="58"/>
                </a:lnTo>
                <a:lnTo>
                  <a:pt x="3612" y="90"/>
                </a:lnTo>
                <a:lnTo>
                  <a:pt x="3749" y="130"/>
                </a:lnTo>
                <a:lnTo>
                  <a:pt x="3884" y="175"/>
                </a:lnTo>
                <a:lnTo>
                  <a:pt x="4015" y="227"/>
                </a:lnTo>
                <a:lnTo>
                  <a:pt x="4143" y="285"/>
                </a:lnTo>
                <a:lnTo>
                  <a:pt x="4268" y="349"/>
                </a:lnTo>
                <a:lnTo>
                  <a:pt x="4388" y="418"/>
                </a:lnTo>
                <a:lnTo>
                  <a:pt x="4506" y="493"/>
                </a:lnTo>
                <a:lnTo>
                  <a:pt x="4619" y="574"/>
                </a:lnTo>
                <a:lnTo>
                  <a:pt x="4728" y="660"/>
                </a:lnTo>
                <a:lnTo>
                  <a:pt x="4833" y="750"/>
                </a:lnTo>
                <a:lnTo>
                  <a:pt x="4934" y="847"/>
                </a:lnTo>
                <a:lnTo>
                  <a:pt x="5030" y="947"/>
                </a:lnTo>
                <a:lnTo>
                  <a:pt x="5120" y="1052"/>
                </a:lnTo>
                <a:lnTo>
                  <a:pt x="5206" y="1161"/>
                </a:lnTo>
                <a:lnTo>
                  <a:pt x="5287" y="1274"/>
                </a:lnTo>
                <a:lnTo>
                  <a:pt x="5362" y="1391"/>
                </a:lnTo>
                <a:lnTo>
                  <a:pt x="5431" y="1512"/>
                </a:lnTo>
                <a:lnTo>
                  <a:pt x="5495" y="1637"/>
                </a:lnTo>
                <a:lnTo>
                  <a:pt x="5553" y="1765"/>
                </a:lnTo>
                <a:lnTo>
                  <a:pt x="5605" y="1896"/>
                </a:lnTo>
                <a:lnTo>
                  <a:pt x="5650" y="2030"/>
                </a:lnTo>
                <a:lnTo>
                  <a:pt x="5689" y="2168"/>
                </a:lnTo>
                <a:lnTo>
                  <a:pt x="5722" y="2307"/>
                </a:lnTo>
                <a:lnTo>
                  <a:pt x="5747" y="2450"/>
                </a:lnTo>
                <a:lnTo>
                  <a:pt x="5765" y="2594"/>
                </a:lnTo>
                <a:lnTo>
                  <a:pt x="5776" y="2741"/>
                </a:lnTo>
                <a:lnTo>
                  <a:pt x="5780" y="2890"/>
                </a:lnTo>
                <a:lnTo>
                  <a:pt x="5776" y="3039"/>
                </a:lnTo>
                <a:lnTo>
                  <a:pt x="5765" y="3186"/>
                </a:lnTo>
                <a:lnTo>
                  <a:pt x="5747" y="3330"/>
                </a:lnTo>
                <a:lnTo>
                  <a:pt x="5722" y="3473"/>
                </a:lnTo>
                <a:lnTo>
                  <a:pt x="5689" y="3612"/>
                </a:lnTo>
                <a:lnTo>
                  <a:pt x="5650" y="3750"/>
                </a:lnTo>
                <a:lnTo>
                  <a:pt x="5605" y="3884"/>
                </a:lnTo>
                <a:lnTo>
                  <a:pt x="5553" y="4015"/>
                </a:lnTo>
                <a:lnTo>
                  <a:pt x="5495" y="4143"/>
                </a:lnTo>
                <a:lnTo>
                  <a:pt x="5431" y="4268"/>
                </a:lnTo>
                <a:lnTo>
                  <a:pt x="5362" y="4389"/>
                </a:lnTo>
                <a:lnTo>
                  <a:pt x="5287" y="4506"/>
                </a:lnTo>
                <a:lnTo>
                  <a:pt x="5206" y="4619"/>
                </a:lnTo>
                <a:lnTo>
                  <a:pt x="5120" y="4728"/>
                </a:lnTo>
                <a:lnTo>
                  <a:pt x="5030" y="4833"/>
                </a:lnTo>
                <a:lnTo>
                  <a:pt x="4934" y="4933"/>
                </a:lnTo>
                <a:lnTo>
                  <a:pt x="4833" y="5030"/>
                </a:lnTo>
                <a:lnTo>
                  <a:pt x="4728" y="5120"/>
                </a:lnTo>
                <a:lnTo>
                  <a:pt x="4619" y="5206"/>
                </a:lnTo>
                <a:lnTo>
                  <a:pt x="4506" y="5287"/>
                </a:lnTo>
                <a:lnTo>
                  <a:pt x="4388" y="5362"/>
                </a:lnTo>
                <a:lnTo>
                  <a:pt x="4268" y="5431"/>
                </a:lnTo>
                <a:lnTo>
                  <a:pt x="4143" y="5495"/>
                </a:lnTo>
                <a:lnTo>
                  <a:pt x="4015" y="5553"/>
                </a:lnTo>
                <a:lnTo>
                  <a:pt x="3884" y="5605"/>
                </a:lnTo>
                <a:lnTo>
                  <a:pt x="3749" y="5650"/>
                </a:lnTo>
                <a:lnTo>
                  <a:pt x="3612" y="5690"/>
                </a:lnTo>
                <a:lnTo>
                  <a:pt x="3472" y="5722"/>
                </a:lnTo>
                <a:lnTo>
                  <a:pt x="3331" y="5747"/>
                </a:lnTo>
                <a:lnTo>
                  <a:pt x="3185" y="5766"/>
                </a:lnTo>
                <a:lnTo>
                  <a:pt x="3039" y="5777"/>
                </a:lnTo>
                <a:lnTo>
                  <a:pt x="2890" y="5780"/>
                </a:lnTo>
                <a:lnTo>
                  <a:pt x="2741" y="5777"/>
                </a:lnTo>
                <a:lnTo>
                  <a:pt x="2594" y="5766"/>
                </a:lnTo>
                <a:lnTo>
                  <a:pt x="2450" y="5747"/>
                </a:lnTo>
                <a:lnTo>
                  <a:pt x="2307" y="5722"/>
                </a:lnTo>
                <a:lnTo>
                  <a:pt x="2168" y="5690"/>
                </a:lnTo>
                <a:lnTo>
                  <a:pt x="2030" y="5650"/>
                </a:lnTo>
                <a:lnTo>
                  <a:pt x="1896" y="5605"/>
                </a:lnTo>
                <a:lnTo>
                  <a:pt x="1765" y="5553"/>
                </a:lnTo>
                <a:lnTo>
                  <a:pt x="1637" y="5495"/>
                </a:lnTo>
                <a:lnTo>
                  <a:pt x="1512" y="5431"/>
                </a:lnTo>
                <a:lnTo>
                  <a:pt x="1391" y="5362"/>
                </a:lnTo>
                <a:lnTo>
                  <a:pt x="1274" y="5287"/>
                </a:lnTo>
                <a:lnTo>
                  <a:pt x="1160" y="5206"/>
                </a:lnTo>
                <a:lnTo>
                  <a:pt x="1052" y="5120"/>
                </a:lnTo>
                <a:lnTo>
                  <a:pt x="947" y="5030"/>
                </a:lnTo>
                <a:lnTo>
                  <a:pt x="847" y="4933"/>
                </a:lnTo>
                <a:lnTo>
                  <a:pt x="750" y="4833"/>
                </a:lnTo>
                <a:lnTo>
                  <a:pt x="660" y="4728"/>
                </a:lnTo>
                <a:lnTo>
                  <a:pt x="574" y="4619"/>
                </a:lnTo>
                <a:lnTo>
                  <a:pt x="493" y="4506"/>
                </a:lnTo>
                <a:lnTo>
                  <a:pt x="418" y="4389"/>
                </a:lnTo>
                <a:lnTo>
                  <a:pt x="349" y="4268"/>
                </a:lnTo>
                <a:lnTo>
                  <a:pt x="285" y="4143"/>
                </a:lnTo>
                <a:lnTo>
                  <a:pt x="227" y="4015"/>
                </a:lnTo>
                <a:lnTo>
                  <a:pt x="175" y="3884"/>
                </a:lnTo>
                <a:lnTo>
                  <a:pt x="129" y="3750"/>
                </a:lnTo>
                <a:lnTo>
                  <a:pt x="90" y="3612"/>
                </a:lnTo>
                <a:lnTo>
                  <a:pt x="58" y="3473"/>
                </a:lnTo>
                <a:lnTo>
                  <a:pt x="33" y="3330"/>
                </a:lnTo>
                <a:lnTo>
                  <a:pt x="14" y="3186"/>
                </a:lnTo>
                <a:lnTo>
                  <a:pt x="3" y="3039"/>
                </a:lnTo>
                <a:lnTo>
                  <a:pt x="0" y="2890"/>
                </a:lnTo>
                <a:lnTo>
                  <a:pt x="3" y="2741"/>
                </a:lnTo>
                <a:lnTo>
                  <a:pt x="14" y="2594"/>
                </a:lnTo>
                <a:lnTo>
                  <a:pt x="33" y="2450"/>
                </a:lnTo>
                <a:lnTo>
                  <a:pt x="58" y="2307"/>
                </a:lnTo>
                <a:lnTo>
                  <a:pt x="90" y="2168"/>
                </a:lnTo>
                <a:lnTo>
                  <a:pt x="129" y="2030"/>
                </a:lnTo>
                <a:lnTo>
                  <a:pt x="175" y="1896"/>
                </a:lnTo>
                <a:lnTo>
                  <a:pt x="227" y="1765"/>
                </a:lnTo>
                <a:lnTo>
                  <a:pt x="285" y="1637"/>
                </a:lnTo>
                <a:lnTo>
                  <a:pt x="349" y="1512"/>
                </a:lnTo>
                <a:lnTo>
                  <a:pt x="418" y="1391"/>
                </a:lnTo>
                <a:lnTo>
                  <a:pt x="493" y="1274"/>
                </a:lnTo>
                <a:lnTo>
                  <a:pt x="574" y="1161"/>
                </a:lnTo>
                <a:lnTo>
                  <a:pt x="660" y="1052"/>
                </a:lnTo>
                <a:lnTo>
                  <a:pt x="750" y="947"/>
                </a:lnTo>
                <a:lnTo>
                  <a:pt x="847" y="847"/>
                </a:lnTo>
                <a:lnTo>
                  <a:pt x="947" y="750"/>
                </a:lnTo>
                <a:lnTo>
                  <a:pt x="1052" y="660"/>
                </a:lnTo>
                <a:lnTo>
                  <a:pt x="1160" y="574"/>
                </a:lnTo>
                <a:lnTo>
                  <a:pt x="1274" y="493"/>
                </a:lnTo>
                <a:lnTo>
                  <a:pt x="1391" y="418"/>
                </a:lnTo>
                <a:lnTo>
                  <a:pt x="1512" y="349"/>
                </a:lnTo>
                <a:lnTo>
                  <a:pt x="1637" y="285"/>
                </a:lnTo>
                <a:lnTo>
                  <a:pt x="1765" y="227"/>
                </a:lnTo>
                <a:lnTo>
                  <a:pt x="1896" y="175"/>
                </a:lnTo>
                <a:lnTo>
                  <a:pt x="2030" y="130"/>
                </a:lnTo>
                <a:lnTo>
                  <a:pt x="2168" y="90"/>
                </a:lnTo>
                <a:lnTo>
                  <a:pt x="2307" y="58"/>
                </a:lnTo>
                <a:lnTo>
                  <a:pt x="2450" y="33"/>
                </a:lnTo>
                <a:lnTo>
                  <a:pt x="2594" y="14"/>
                </a:lnTo>
                <a:lnTo>
                  <a:pt x="2741" y="3"/>
                </a:lnTo>
                <a:lnTo>
                  <a:pt x="2890" y="0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43" name="Freeform 10"/>
          <p:cNvSpPr>
            <a:spLocks/>
          </p:cNvSpPr>
          <p:nvPr/>
        </p:nvSpPr>
        <p:spPr bwMode="auto">
          <a:xfrm>
            <a:off x="746125" y="2269431"/>
            <a:ext cx="398202" cy="328948"/>
          </a:xfrm>
          <a:custGeom>
            <a:avLst/>
            <a:gdLst>
              <a:gd name="T0" fmla="*/ 0 w 1563"/>
              <a:gd name="T1" fmla="*/ 1243 h 1291"/>
              <a:gd name="T2" fmla="*/ 259 w 1563"/>
              <a:gd name="T3" fmla="*/ 793 h 1291"/>
              <a:gd name="T4" fmla="*/ 278 w 1563"/>
              <a:gd name="T5" fmla="*/ 761 h 1291"/>
              <a:gd name="T6" fmla="*/ 313 w 1563"/>
              <a:gd name="T7" fmla="*/ 771 h 1291"/>
              <a:gd name="T8" fmla="*/ 551 w 1563"/>
              <a:gd name="T9" fmla="*/ 835 h 1291"/>
              <a:gd name="T10" fmla="*/ 778 w 1563"/>
              <a:gd name="T11" fmla="*/ 442 h 1291"/>
              <a:gd name="T12" fmla="*/ 809 w 1563"/>
              <a:gd name="T13" fmla="*/ 388 h 1291"/>
              <a:gd name="T14" fmla="*/ 853 w 1563"/>
              <a:gd name="T15" fmla="*/ 432 h 1291"/>
              <a:gd name="T16" fmla="*/ 1050 w 1563"/>
              <a:gd name="T17" fmla="*/ 629 h 1291"/>
              <a:gd name="T18" fmla="*/ 1297 w 1563"/>
              <a:gd name="T19" fmla="*/ 200 h 1291"/>
              <a:gd name="T20" fmla="*/ 1112 w 1563"/>
              <a:gd name="T21" fmla="*/ 87 h 1291"/>
              <a:gd name="T22" fmla="*/ 1476 w 1563"/>
              <a:gd name="T23" fmla="*/ 0 h 1291"/>
              <a:gd name="T24" fmla="*/ 1563 w 1563"/>
              <a:gd name="T25" fmla="*/ 363 h 1291"/>
              <a:gd name="T26" fmla="*/ 1379 w 1563"/>
              <a:gd name="T27" fmla="*/ 250 h 1291"/>
              <a:gd name="T28" fmla="*/ 1102 w 1563"/>
              <a:gd name="T29" fmla="*/ 731 h 1291"/>
              <a:gd name="T30" fmla="*/ 1070 w 1563"/>
              <a:gd name="T31" fmla="*/ 785 h 1291"/>
              <a:gd name="T32" fmla="*/ 1025 w 1563"/>
              <a:gd name="T33" fmla="*/ 740 h 1291"/>
              <a:gd name="T34" fmla="*/ 830 w 1563"/>
              <a:gd name="T35" fmla="*/ 544 h 1291"/>
              <a:gd name="T36" fmla="*/ 616 w 1563"/>
              <a:gd name="T37" fmla="*/ 915 h 1291"/>
              <a:gd name="T38" fmla="*/ 597 w 1563"/>
              <a:gd name="T39" fmla="*/ 947 h 1291"/>
              <a:gd name="T40" fmla="*/ 562 w 1563"/>
              <a:gd name="T41" fmla="*/ 937 h 1291"/>
              <a:gd name="T42" fmla="*/ 324 w 1563"/>
              <a:gd name="T43" fmla="*/ 873 h 1291"/>
              <a:gd name="T44" fmla="*/ 83 w 1563"/>
              <a:gd name="T45" fmla="*/ 1291 h 1291"/>
              <a:gd name="T46" fmla="*/ 0 w 1563"/>
              <a:gd name="T47" fmla="*/ 1243 h 1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63" h="1291">
                <a:moveTo>
                  <a:pt x="0" y="1243"/>
                </a:moveTo>
                <a:lnTo>
                  <a:pt x="259" y="793"/>
                </a:lnTo>
                <a:lnTo>
                  <a:pt x="278" y="761"/>
                </a:lnTo>
                <a:lnTo>
                  <a:pt x="313" y="771"/>
                </a:lnTo>
                <a:lnTo>
                  <a:pt x="551" y="835"/>
                </a:lnTo>
                <a:lnTo>
                  <a:pt x="778" y="442"/>
                </a:lnTo>
                <a:lnTo>
                  <a:pt x="809" y="388"/>
                </a:lnTo>
                <a:lnTo>
                  <a:pt x="853" y="432"/>
                </a:lnTo>
                <a:lnTo>
                  <a:pt x="1050" y="629"/>
                </a:lnTo>
                <a:lnTo>
                  <a:pt x="1297" y="200"/>
                </a:lnTo>
                <a:lnTo>
                  <a:pt x="1112" y="87"/>
                </a:lnTo>
                <a:lnTo>
                  <a:pt x="1476" y="0"/>
                </a:lnTo>
                <a:lnTo>
                  <a:pt x="1563" y="363"/>
                </a:lnTo>
                <a:lnTo>
                  <a:pt x="1379" y="250"/>
                </a:lnTo>
                <a:lnTo>
                  <a:pt x="1102" y="731"/>
                </a:lnTo>
                <a:lnTo>
                  <a:pt x="1070" y="785"/>
                </a:lnTo>
                <a:lnTo>
                  <a:pt x="1025" y="740"/>
                </a:lnTo>
                <a:lnTo>
                  <a:pt x="830" y="544"/>
                </a:lnTo>
                <a:lnTo>
                  <a:pt x="616" y="915"/>
                </a:lnTo>
                <a:lnTo>
                  <a:pt x="597" y="947"/>
                </a:lnTo>
                <a:lnTo>
                  <a:pt x="562" y="937"/>
                </a:lnTo>
                <a:lnTo>
                  <a:pt x="324" y="873"/>
                </a:lnTo>
                <a:lnTo>
                  <a:pt x="83" y="1291"/>
                </a:lnTo>
                <a:lnTo>
                  <a:pt x="0" y="12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" name="Freeform 7"/>
          <p:cNvSpPr>
            <a:spLocks/>
          </p:cNvSpPr>
          <p:nvPr/>
        </p:nvSpPr>
        <p:spPr bwMode="auto">
          <a:xfrm>
            <a:off x="7923833" y="2128152"/>
            <a:ext cx="646434" cy="646432"/>
          </a:xfrm>
          <a:custGeom>
            <a:avLst/>
            <a:gdLst>
              <a:gd name="T0" fmla="*/ 3185 w 5780"/>
              <a:gd name="T1" fmla="*/ 14 h 5780"/>
              <a:gd name="T2" fmla="*/ 3612 w 5780"/>
              <a:gd name="T3" fmla="*/ 90 h 5780"/>
              <a:gd name="T4" fmla="*/ 4015 w 5780"/>
              <a:gd name="T5" fmla="*/ 227 h 5780"/>
              <a:gd name="T6" fmla="*/ 4388 w 5780"/>
              <a:gd name="T7" fmla="*/ 418 h 5780"/>
              <a:gd name="T8" fmla="*/ 4728 w 5780"/>
              <a:gd name="T9" fmla="*/ 660 h 5780"/>
              <a:gd name="T10" fmla="*/ 5030 w 5780"/>
              <a:gd name="T11" fmla="*/ 947 h 5780"/>
              <a:gd name="T12" fmla="*/ 5287 w 5780"/>
              <a:gd name="T13" fmla="*/ 1274 h 5780"/>
              <a:gd name="T14" fmla="*/ 5495 w 5780"/>
              <a:gd name="T15" fmla="*/ 1637 h 5780"/>
              <a:gd name="T16" fmla="*/ 5650 w 5780"/>
              <a:gd name="T17" fmla="*/ 2030 h 5780"/>
              <a:gd name="T18" fmla="*/ 5747 w 5780"/>
              <a:gd name="T19" fmla="*/ 2450 h 5780"/>
              <a:gd name="T20" fmla="*/ 5780 w 5780"/>
              <a:gd name="T21" fmla="*/ 2890 h 5780"/>
              <a:gd name="T22" fmla="*/ 5747 w 5780"/>
              <a:gd name="T23" fmla="*/ 3330 h 5780"/>
              <a:gd name="T24" fmla="*/ 5650 w 5780"/>
              <a:gd name="T25" fmla="*/ 3750 h 5780"/>
              <a:gd name="T26" fmla="*/ 5495 w 5780"/>
              <a:gd name="T27" fmla="*/ 4143 h 5780"/>
              <a:gd name="T28" fmla="*/ 5287 w 5780"/>
              <a:gd name="T29" fmla="*/ 4506 h 5780"/>
              <a:gd name="T30" fmla="*/ 5030 w 5780"/>
              <a:gd name="T31" fmla="*/ 4833 h 5780"/>
              <a:gd name="T32" fmla="*/ 4728 w 5780"/>
              <a:gd name="T33" fmla="*/ 5120 h 5780"/>
              <a:gd name="T34" fmla="*/ 4388 w 5780"/>
              <a:gd name="T35" fmla="*/ 5362 h 5780"/>
              <a:gd name="T36" fmla="*/ 4015 w 5780"/>
              <a:gd name="T37" fmla="*/ 5553 h 5780"/>
              <a:gd name="T38" fmla="*/ 3612 w 5780"/>
              <a:gd name="T39" fmla="*/ 5690 h 5780"/>
              <a:gd name="T40" fmla="*/ 3185 w 5780"/>
              <a:gd name="T41" fmla="*/ 5766 h 5780"/>
              <a:gd name="T42" fmla="*/ 2741 w 5780"/>
              <a:gd name="T43" fmla="*/ 5777 h 5780"/>
              <a:gd name="T44" fmla="*/ 2307 w 5780"/>
              <a:gd name="T45" fmla="*/ 5722 h 5780"/>
              <a:gd name="T46" fmla="*/ 1896 w 5780"/>
              <a:gd name="T47" fmla="*/ 5605 h 5780"/>
              <a:gd name="T48" fmla="*/ 1512 w 5780"/>
              <a:gd name="T49" fmla="*/ 5431 h 5780"/>
              <a:gd name="T50" fmla="*/ 1160 w 5780"/>
              <a:gd name="T51" fmla="*/ 5206 h 5780"/>
              <a:gd name="T52" fmla="*/ 847 w 5780"/>
              <a:gd name="T53" fmla="*/ 4933 h 5780"/>
              <a:gd name="T54" fmla="*/ 574 w 5780"/>
              <a:gd name="T55" fmla="*/ 4619 h 5780"/>
              <a:gd name="T56" fmla="*/ 349 w 5780"/>
              <a:gd name="T57" fmla="*/ 4268 h 5780"/>
              <a:gd name="T58" fmla="*/ 175 w 5780"/>
              <a:gd name="T59" fmla="*/ 3884 h 5780"/>
              <a:gd name="T60" fmla="*/ 58 w 5780"/>
              <a:gd name="T61" fmla="*/ 3473 h 5780"/>
              <a:gd name="T62" fmla="*/ 3 w 5780"/>
              <a:gd name="T63" fmla="*/ 3039 h 5780"/>
              <a:gd name="T64" fmla="*/ 14 w 5780"/>
              <a:gd name="T65" fmla="*/ 2594 h 5780"/>
              <a:gd name="T66" fmla="*/ 90 w 5780"/>
              <a:gd name="T67" fmla="*/ 2168 h 5780"/>
              <a:gd name="T68" fmla="*/ 227 w 5780"/>
              <a:gd name="T69" fmla="*/ 1765 h 5780"/>
              <a:gd name="T70" fmla="*/ 418 w 5780"/>
              <a:gd name="T71" fmla="*/ 1391 h 5780"/>
              <a:gd name="T72" fmla="*/ 660 w 5780"/>
              <a:gd name="T73" fmla="*/ 1052 h 5780"/>
              <a:gd name="T74" fmla="*/ 947 w 5780"/>
              <a:gd name="T75" fmla="*/ 750 h 5780"/>
              <a:gd name="T76" fmla="*/ 1274 w 5780"/>
              <a:gd name="T77" fmla="*/ 493 h 5780"/>
              <a:gd name="T78" fmla="*/ 1637 w 5780"/>
              <a:gd name="T79" fmla="*/ 285 h 5780"/>
              <a:gd name="T80" fmla="*/ 2030 w 5780"/>
              <a:gd name="T81" fmla="*/ 130 h 5780"/>
              <a:gd name="T82" fmla="*/ 2450 w 5780"/>
              <a:gd name="T83" fmla="*/ 33 h 5780"/>
              <a:gd name="T84" fmla="*/ 2890 w 5780"/>
              <a:gd name="T85" fmla="*/ 0 h 5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80" h="5780">
                <a:moveTo>
                  <a:pt x="2890" y="0"/>
                </a:moveTo>
                <a:lnTo>
                  <a:pt x="3039" y="3"/>
                </a:lnTo>
                <a:lnTo>
                  <a:pt x="3185" y="14"/>
                </a:lnTo>
                <a:lnTo>
                  <a:pt x="3331" y="33"/>
                </a:lnTo>
                <a:lnTo>
                  <a:pt x="3472" y="58"/>
                </a:lnTo>
                <a:lnTo>
                  <a:pt x="3612" y="90"/>
                </a:lnTo>
                <a:lnTo>
                  <a:pt x="3749" y="130"/>
                </a:lnTo>
                <a:lnTo>
                  <a:pt x="3884" y="175"/>
                </a:lnTo>
                <a:lnTo>
                  <a:pt x="4015" y="227"/>
                </a:lnTo>
                <a:lnTo>
                  <a:pt x="4143" y="285"/>
                </a:lnTo>
                <a:lnTo>
                  <a:pt x="4268" y="349"/>
                </a:lnTo>
                <a:lnTo>
                  <a:pt x="4388" y="418"/>
                </a:lnTo>
                <a:lnTo>
                  <a:pt x="4506" y="493"/>
                </a:lnTo>
                <a:lnTo>
                  <a:pt x="4619" y="574"/>
                </a:lnTo>
                <a:lnTo>
                  <a:pt x="4728" y="660"/>
                </a:lnTo>
                <a:lnTo>
                  <a:pt x="4833" y="750"/>
                </a:lnTo>
                <a:lnTo>
                  <a:pt x="4934" y="847"/>
                </a:lnTo>
                <a:lnTo>
                  <a:pt x="5030" y="947"/>
                </a:lnTo>
                <a:lnTo>
                  <a:pt x="5120" y="1052"/>
                </a:lnTo>
                <a:lnTo>
                  <a:pt x="5206" y="1161"/>
                </a:lnTo>
                <a:lnTo>
                  <a:pt x="5287" y="1274"/>
                </a:lnTo>
                <a:lnTo>
                  <a:pt x="5362" y="1391"/>
                </a:lnTo>
                <a:lnTo>
                  <a:pt x="5431" y="1512"/>
                </a:lnTo>
                <a:lnTo>
                  <a:pt x="5495" y="1637"/>
                </a:lnTo>
                <a:lnTo>
                  <a:pt x="5553" y="1765"/>
                </a:lnTo>
                <a:lnTo>
                  <a:pt x="5605" y="1896"/>
                </a:lnTo>
                <a:lnTo>
                  <a:pt x="5650" y="2030"/>
                </a:lnTo>
                <a:lnTo>
                  <a:pt x="5689" y="2168"/>
                </a:lnTo>
                <a:lnTo>
                  <a:pt x="5722" y="2307"/>
                </a:lnTo>
                <a:lnTo>
                  <a:pt x="5747" y="2450"/>
                </a:lnTo>
                <a:lnTo>
                  <a:pt x="5765" y="2594"/>
                </a:lnTo>
                <a:lnTo>
                  <a:pt x="5776" y="2741"/>
                </a:lnTo>
                <a:lnTo>
                  <a:pt x="5780" y="2890"/>
                </a:lnTo>
                <a:lnTo>
                  <a:pt x="5776" y="3039"/>
                </a:lnTo>
                <a:lnTo>
                  <a:pt x="5765" y="3186"/>
                </a:lnTo>
                <a:lnTo>
                  <a:pt x="5747" y="3330"/>
                </a:lnTo>
                <a:lnTo>
                  <a:pt x="5722" y="3473"/>
                </a:lnTo>
                <a:lnTo>
                  <a:pt x="5689" y="3612"/>
                </a:lnTo>
                <a:lnTo>
                  <a:pt x="5650" y="3750"/>
                </a:lnTo>
                <a:lnTo>
                  <a:pt x="5605" y="3884"/>
                </a:lnTo>
                <a:lnTo>
                  <a:pt x="5553" y="4015"/>
                </a:lnTo>
                <a:lnTo>
                  <a:pt x="5495" y="4143"/>
                </a:lnTo>
                <a:lnTo>
                  <a:pt x="5431" y="4268"/>
                </a:lnTo>
                <a:lnTo>
                  <a:pt x="5362" y="4389"/>
                </a:lnTo>
                <a:lnTo>
                  <a:pt x="5287" y="4506"/>
                </a:lnTo>
                <a:lnTo>
                  <a:pt x="5206" y="4619"/>
                </a:lnTo>
                <a:lnTo>
                  <a:pt x="5120" y="4728"/>
                </a:lnTo>
                <a:lnTo>
                  <a:pt x="5030" y="4833"/>
                </a:lnTo>
                <a:lnTo>
                  <a:pt x="4934" y="4933"/>
                </a:lnTo>
                <a:lnTo>
                  <a:pt x="4833" y="5030"/>
                </a:lnTo>
                <a:lnTo>
                  <a:pt x="4728" y="5120"/>
                </a:lnTo>
                <a:lnTo>
                  <a:pt x="4619" y="5206"/>
                </a:lnTo>
                <a:lnTo>
                  <a:pt x="4506" y="5287"/>
                </a:lnTo>
                <a:lnTo>
                  <a:pt x="4388" y="5362"/>
                </a:lnTo>
                <a:lnTo>
                  <a:pt x="4268" y="5431"/>
                </a:lnTo>
                <a:lnTo>
                  <a:pt x="4143" y="5495"/>
                </a:lnTo>
                <a:lnTo>
                  <a:pt x="4015" y="5553"/>
                </a:lnTo>
                <a:lnTo>
                  <a:pt x="3884" y="5605"/>
                </a:lnTo>
                <a:lnTo>
                  <a:pt x="3749" y="5650"/>
                </a:lnTo>
                <a:lnTo>
                  <a:pt x="3612" y="5690"/>
                </a:lnTo>
                <a:lnTo>
                  <a:pt x="3472" y="5722"/>
                </a:lnTo>
                <a:lnTo>
                  <a:pt x="3331" y="5747"/>
                </a:lnTo>
                <a:lnTo>
                  <a:pt x="3185" y="5766"/>
                </a:lnTo>
                <a:lnTo>
                  <a:pt x="3039" y="5777"/>
                </a:lnTo>
                <a:lnTo>
                  <a:pt x="2890" y="5780"/>
                </a:lnTo>
                <a:lnTo>
                  <a:pt x="2741" y="5777"/>
                </a:lnTo>
                <a:lnTo>
                  <a:pt x="2594" y="5766"/>
                </a:lnTo>
                <a:lnTo>
                  <a:pt x="2450" y="5747"/>
                </a:lnTo>
                <a:lnTo>
                  <a:pt x="2307" y="5722"/>
                </a:lnTo>
                <a:lnTo>
                  <a:pt x="2168" y="5690"/>
                </a:lnTo>
                <a:lnTo>
                  <a:pt x="2030" y="5650"/>
                </a:lnTo>
                <a:lnTo>
                  <a:pt x="1896" y="5605"/>
                </a:lnTo>
                <a:lnTo>
                  <a:pt x="1765" y="5553"/>
                </a:lnTo>
                <a:lnTo>
                  <a:pt x="1637" y="5495"/>
                </a:lnTo>
                <a:lnTo>
                  <a:pt x="1512" y="5431"/>
                </a:lnTo>
                <a:lnTo>
                  <a:pt x="1391" y="5362"/>
                </a:lnTo>
                <a:lnTo>
                  <a:pt x="1274" y="5287"/>
                </a:lnTo>
                <a:lnTo>
                  <a:pt x="1160" y="5206"/>
                </a:lnTo>
                <a:lnTo>
                  <a:pt x="1052" y="5120"/>
                </a:lnTo>
                <a:lnTo>
                  <a:pt x="947" y="5030"/>
                </a:lnTo>
                <a:lnTo>
                  <a:pt x="847" y="4933"/>
                </a:lnTo>
                <a:lnTo>
                  <a:pt x="750" y="4833"/>
                </a:lnTo>
                <a:lnTo>
                  <a:pt x="660" y="4728"/>
                </a:lnTo>
                <a:lnTo>
                  <a:pt x="574" y="4619"/>
                </a:lnTo>
                <a:lnTo>
                  <a:pt x="493" y="4506"/>
                </a:lnTo>
                <a:lnTo>
                  <a:pt x="418" y="4389"/>
                </a:lnTo>
                <a:lnTo>
                  <a:pt x="349" y="4268"/>
                </a:lnTo>
                <a:lnTo>
                  <a:pt x="285" y="4143"/>
                </a:lnTo>
                <a:lnTo>
                  <a:pt x="227" y="4015"/>
                </a:lnTo>
                <a:lnTo>
                  <a:pt x="175" y="3884"/>
                </a:lnTo>
                <a:lnTo>
                  <a:pt x="129" y="3750"/>
                </a:lnTo>
                <a:lnTo>
                  <a:pt x="90" y="3612"/>
                </a:lnTo>
                <a:lnTo>
                  <a:pt x="58" y="3473"/>
                </a:lnTo>
                <a:lnTo>
                  <a:pt x="33" y="3330"/>
                </a:lnTo>
                <a:lnTo>
                  <a:pt x="14" y="3186"/>
                </a:lnTo>
                <a:lnTo>
                  <a:pt x="3" y="3039"/>
                </a:lnTo>
                <a:lnTo>
                  <a:pt x="0" y="2890"/>
                </a:lnTo>
                <a:lnTo>
                  <a:pt x="3" y="2741"/>
                </a:lnTo>
                <a:lnTo>
                  <a:pt x="14" y="2594"/>
                </a:lnTo>
                <a:lnTo>
                  <a:pt x="33" y="2450"/>
                </a:lnTo>
                <a:lnTo>
                  <a:pt x="58" y="2307"/>
                </a:lnTo>
                <a:lnTo>
                  <a:pt x="90" y="2168"/>
                </a:lnTo>
                <a:lnTo>
                  <a:pt x="129" y="2030"/>
                </a:lnTo>
                <a:lnTo>
                  <a:pt x="175" y="1896"/>
                </a:lnTo>
                <a:lnTo>
                  <a:pt x="227" y="1765"/>
                </a:lnTo>
                <a:lnTo>
                  <a:pt x="285" y="1637"/>
                </a:lnTo>
                <a:lnTo>
                  <a:pt x="349" y="1512"/>
                </a:lnTo>
                <a:lnTo>
                  <a:pt x="418" y="1391"/>
                </a:lnTo>
                <a:lnTo>
                  <a:pt x="493" y="1274"/>
                </a:lnTo>
                <a:lnTo>
                  <a:pt x="574" y="1161"/>
                </a:lnTo>
                <a:lnTo>
                  <a:pt x="660" y="1052"/>
                </a:lnTo>
                <a:lnTo>
                  <a:pt x="750" y="947"/>
                </a:lnTo>
                <a:lnTo>
                  <a:pt x="847" y="847"/>
                </a:lnTo>
                <a:lnTo>
                  <a:pt x="947" y="750"/>
                </a:lnTo>
                <a:lnTo>
                  <a:pt x="1052" y="660"/>
                </a:lnTo>
                <a:lnTo>
                  <a:pt x="1160" y="574"/>
                </a:lnTo>
                <a:lnTo>
                  <a:pt x="1274" y="493"/>
                </a:lnTo>
                <a:lnTo>
                  <a:pt x="1391" y="418"/>
                </a:lnTo>
                <a:lnTo>
                  <a:pt x="1512" y="349"/>
                </a:lnTo>
                <a:lnTo>
                  <a:pt x="1637" y="285"/>
                </a:lnTo>
                <a:lnTo>
                  <a:pt x="1765" y="227"/>
                </a:lnTo>
                <a:lnTo>
                  <a:pt x="1896" y="175"/>
                </a:lnTo>
                <a:lnTo>
                  <a:pt x="2030" y="130"/>
                </a:lnTo>
                <a:lnTo>
                  <a:pt x="2168" y="90"/>
                </a:lnTo>
                <a:lnTo>
                  <a:pt x="2307" y="58"/>
                </a:lnTo>
                <a:lnTo>
                  <a:pt x="2450" y="33"/>
                </a:lnTo>
                <a:lnTo>
                  <a:pt x="2594" y="14"/>
                </a:lnTo>
                <a:lnTo>
                  <a:pt x="2741" y="3"/>
                </a:lnTo>
                <a:lnTo>
                  <a:pt x="2890" y="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54" name="Freeform 7"/>
          <p:cNvSpPr>
            <a:spLocks/>
          </p:cNvSpPr>
          <p:nvPr/>
        </p:nvSpPr>
        <p:spPr bwMode="auto">
          <a:xfrm>
            <a:off x="641954" y="4705701"/>
            <a:ext cx="646434" cy="646432"/>
          </a:xfrm>
          <a:custGeom>
            <a:avLst/>
            <a:gdLst>
              <a:gd name="T0" fmla="*/ 3185 w 5780"/>
              <a:gd name="T1" fmla="*/ 14 h 5780"/>
              <a:gd name="T2" fmla="*/ 3612 w 5780"/>
              <a:gd name="T3" fmla="*/ 90 h 5780"/>
              <a:gd name="T4" fmla="*/ 4015 w 5780"/>
              <a:gd name="T5" fmla="*/ 227 h 5780"/>
              <a:gd name="T6" fmla="*/ 4388 w 5780"/>
              <a:gd name="T7" fmla="*/ 418 h 5780"/>
              <a:gd name="T8" fmla="*/ 4728 w 5780"/>
              <a:gd name="T9" fmla="*/ 660 h 5780"/>
              <a:gd name="T10" fmla="*/ 5030 w 5780"/>
              <a:gd name="T11" fmla="*/ 947 h 5780"/>
              <a:gd name="T12" fmla="*/ 5287 w 5780"/>
              <a:gd name="T13" fmla="*/ 1274 h 5780"/>
              <a:gd name="T14" fmla="*/ 5495 w 5780"/>
              <a:gd name="T15" fmla="*/ 1637 h 5780"/>
              <a:gd name="T16" fmla="*/ 5650 w 5780"/>
              <a:gd name="T17" fmla="*/ 2030 h 5780"/>
              <a:gd name="T18" fmla="*/ 5747 w 5780"/>
              <a:gd name="T19" fmla="*/ 2450 h 5780"/>
              <a:gd name="T20" fmla="*/ 5780 w 5780"/>
              <a:gd name="T21" fmla="*/ 2890 h 5780"/>
              <a:gd name="T22" fmla="*/ 5747 w 5780"/>
              <a:gd name="T23" fmla="*/ 3330 h 5780"/>
              <a:gd name="T24" fmla="*/ 5650 w 5780"/>
              <a:gd name="T25" fmla="*/ 3750 h 5780"/>
              <a:gd name="T26" fmla="*/ 5495 w 5780"/>
              <a:gd name="T27" fmla="*/ 4143 h 5780"/>
              <a:gd name="T28" fmla="*/ 5287 w 5780"/>
              <a:gd name="T29" fmla="*/ 4506 h 5780"/>
              <a:gd name="T30" fmla="*/ 5030 w 5780"/>
              <a:gd name="T31" fmla="*/ 4833 h 5780"/>
              <a:gd name="T32" fmla="*/ 4728 w 5780"/>
              <a:gd name="T33" fmla="*/ 5120 h 5780"/>
              <a:gd name="T34" fmla="*/ 4388 w 5780"/>
              <a:gd name="T35" fmla="*/ 5362 h 5780"/>
              <a:gd name="T36" fmla="*/ 4015 w 5780"/>
              <a:gd name="T37" fmla="*/ 5553 h 5780"/>
              <a:gd name="T38" fmla="*/ 3612 w 5780"/>
              <a:gd name="T39" fmla="*/ 5690 h 5780"/>
              <a:gd name="T40" fmla="*/ 3185 w 5780"/>
              <a:gd name="T41" fmla="*/ 5766 h 5780"/>
              <a:gd name="T42" fmla="*/ 2741 w 5780"/>
              <a:gd name="T43" fmla="*/ 5777 h 5780"/>
              <a:gd name="T44" fmla="*/ 2307 w 5780"/>
              <a:gd name="T45" fmla="*/ 5722 h 5780"/>
              <a:gd name="T46" fmla="*/ 1896 w 5780"/>
              <a:gd name="T47" fmla="*/ 5605 h 5780"/>
              <a:gd name="T48" fmla="*/ 1512 w 5780"/>
              <a:gd name="T49" fmla="*/ 5431 h 5780"/>
              <a:gd name="T50" fmla="*/ 1160 w 5780"/>
              <a:gd name="T51" fmla="*/ 5206 h 5780"/>
              <a:gd name="T52" fmla="*/ 847 w 5780"/>
              <a:gd name="T53" fmla="*/ 4933 h 5780"/>
              <a:gd name="T54" fmla="*/ 574 w 5780"/>
              <a:gd name="T55" fmla="*/ 4619 h 5780"/>
              <a:gd name="T56" fmla="*/ 349 w 5780"/>
              <a:gd name="T57" fmla="*/ 4268 h 5780"/>
              <a:gd name="T58" fmla="*/ 175 w 5780"/>
              <a:gd name="T59" fmla="*/ 3884 h 5780"/>
              <a:gd name="T60" fmla="*/ 58 w 5780"/>
              <a:gd name="T61" fmla="*/ 3473 h 5780"/>
              <a:gd name="T62" fmla="*/ 3 w 5780"/>
              <a:gd name="T63" fmla="*/ 3039 h 5780"/>
              <a:gd name="T64" fmla="*/ 14 w 5780"/>
              <a:gd name="T65" fmla="*/ 2594 h 5780"/>
              <a:gd name="T66" fmla="*/ 90 w 5780"/>
              <a:gd name="T67" fmla="*/ 2168 h 5780"/>
              <a:gd name="T68" fmla="*/ 227 w 5780"/>
              <a:gd name="T69" fmla="*/ 1765 h 5780"/>
              <a:gd name="T70" fmla="*/ 418 w 5780"/>
              <a:gd name="T71" fmla="*/ 1391 h 5780"/>
              <a:gd name="T72" fmla="*/ 660 w 5780"/>
              <a:gd name="T73" fmla="*/ 1052 h 5780"/>
              <a:gd name="T74" fmla="*/ 947 w 5780"/>
              <a:gd name="T75" fmla="*/ 750 h 5780"/>
              <a:gd name="T76" fmla="*/ 1274 w 5780"/>
              <a:gd name="T77" fmla="*/ 493 h 5780"/>
              <a:gd name="T78" fmla="*/ 1637 w 5780"/>
              <a:gd name="T79" fmla="*/ 285 h 5780"/>
              <a:gd name="T80" fmla="*/ 2030 w 5780"/>
              <a:gd name="T81" fmla="*/ 130 h 5780"/>
              <a:gd name="T82" fmla="*/ 2450 w 5780"/>
              <a:gd name="T83" fmla="*/ 33 h 5780"/>
              <a:gd name="T84" fmla="*/ 2890 w 5780"/>
              <a:gd name="T85" fmla="*/ 0 h 5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80" h="5780">
                <a:moveTo>
                  <a:pt x="2890" y="0"/>
                </a:moveTo>
                <a:lnTo>
                  <a:pt x="3039" y="3"/>
                </a:lnTo>
                <a:lnTo>
                  <a:pt x="3185" y="14"/>
                </a:lnTo>
                <a:lnTo>
                  <a:pt x="3331" y="33"/>
                </a:lnTo>
                <a:lnTo>
                  <a:pt x="3472" y="58"/>
                </a:lnTo>
                <a:lnTo>
                  <a:pt x="3612" y="90"/>
                </a:lnTo>
                <a:lnTo>
                  <a:pt x="3749" y="130"/>
                </a:lnTo>
                <a:lnTo>
                  <a:pt x="3884" y="175"/>
                </a:lnTo>
                <a:lnTo>
                  <a:pt x="4015" y="227"/>
                </a:lnTo>
                <a:lnTo>
                  <a:pt x="4143" y="285"/>
                </a:lnTo>
                <a:lnTo>
                  <a:pt x="4268" y="349"/>
                </a:lnTo>
                <a:lnTo>
                  <a:pt x="4388" y="418"/>
                </a:lnTo>
                <a:lnTo>
                  <a:pt x="4506" y="493"/>
                </a:lnTo>
                <a:lnTo>
                  <a:pt x="4619" y="574"/>
                </a:lnTo>
                <a:lnTo>
                  <a:pt x="4728" y="660"/>
                </a:lnTo>
                <a:lnTo>
                  <a:pt x="4833" y="750"/>
                </a:lnTo>
                <a:lnTo>
                  <a:pt x="4934" y="847"/>
                </a:lnTo>
                <a:lnTo>
                  <a:pt x="5030" y="947"/>
                </a:lnTo>
                <a:lnTo>
                  <a:pt x="5120" y="1052"/>
                </a:lnTo>
                <a:lnTo>
                  <a:pt x="5206" y="1161"/>
                </a:lnTo>
                <a:lnTo>
                  <a:pt x="5287" y="1274"/>
                </a:lnTo>
                <a:lnTo>
                  <a:pt x="5362" y="1391"/>
                </a:lnTo>
                <a:lnTo>
                  <a:pt x="5431" y="1512"/>
                </a:lnTo>
                <a:lnTo>
                  <a:pt x="5495" y="1637"/>
                </a:lnTo>
                <a:lnTo>
                  <a:pt x="5553" y="1765"/>
                </a:lnTo>
                <a:lnTo>
                  <a:pt x="5605" y="1896"/>
                </a:lnTo>
                <a:lnTo>
                  <a:pt x="5650" y="2030"/>
                </a:lnTo>
                <a:lnTo>
                  <a:pt x="5689" y="2168"/>
                </a:lnTo>
                <a:lnTo>
                  <a:pt x="5722" y="2307"/>
                </a:lnTo>
                <a:lnTo>
                  <a:pt x="5747" y="2450"/>
                </a:lnTo>
                <a:lnTo>
                  <a:pt x="5765" y="2594"/>
                </a:lnTo>
                <a:lnTo>
                  <a:pt x="5776" y="2741"/>
                </a:lnTo>
                <a:lnTo>
                  <a:pt x="5780" y="2890"/>
                </a:lnTo>
                <a:lnTo>
                  <a:pt x="5776" y="3039"/>
                </a:lnTo>
                <a:lnTo>
                  <a:pt x="5765" y="3186"/>
                </a:lnTo>
                <a:lnTo>
                  <a:pt x="5747" y="3330"/>
                </a:lnTo>
                <a:lnTo>
                  <a:pt x="5722" y="3473"/>
                </a:lnTo>
                <a:lnTo>
                  <a:pt x="5689" y="3612"/>
                </a:lnTo>
                <a:lnTo>
                  <a:pt x="5650" y="3750"/>
                </a:lnTo>
                <a:lnTo>
                  <a:pt x="5605" y="3884"/>
                </a:lnTo>
                <a:lnTo>
                  <a:pt x="5553" y="4015"/>
                </a:lnTo>
                <a:lnTo>
                  <a:pt x="5495" y="4143"/>
                </a:lnTo>
                <a:lnTo>
                  <a:pt x="5431" y="4268"/>
                </a:lnTo>
                <a:lnTo>
                  <a:pt x="5362" y="4389"/>
                </a:lnTo>
                <a:lnTo>
                  <a:pt x="5287" y="4506"/>
                </a:lnTo>
                <a:lnTo>
                  <a:pt x="5206" y="4619"/>
                </a:lnTo>
                <a:lnTo>
                  <a:pt x="5120" y="4728"/>
                </a:lnTo>
                <a:lnTo>
                  <a:pt x="5030" y="4833"/>
                </a:lnTo>
                <a:lnTo>
                  <a:pt x="4934" y="4933"/>
                </a:lnTo>
                <a:lnTo>
                  <a:pt x="4833" y="5030"/>
                </a:lnTo>
                <a:lnTo>
                  <a:pt x="4728" y="5120"/>
                </a:lnTo>
                <a:lnTo>
                  <a:pt x="4619" y="5206"/>
                </a:lnTo>
                <a:lnTo>
                  <a:pt x="4506" y="5287"/>
                </a:lnTo>
                <a:lnTo>
                  <a:pt x="4388" y="5362"/>
                </a:lnTo>
                <a:lnTo>
                  <a:pt x="4268" y="5431"/>
                </a:lnTo>
                <a:lnTo>
                  <a:pt x="4143" y="5495"/>
                </a:lnTo>
                <a:lnTo>
                  <a:pt x="4015" y="5553"/>
                </a:lnTo>
                <a:lnTo>
                  <a:pt x="3884" y="5605"/>
                </a:lnTo>
                <a:lnTo>
                  <a:pt x="3749" y="5650"/>
                </a:lnTo>
                <a:lnTo>
                  <a:pt x="3612" y="5690"/>
                </a:lnTo>
                <a:lnTo>
                  <a:pt x="3472" y="5722"/>
                </a:lnTo>
                <a:lnTo>
                  <a:pt x="3331" y="5747"/>
                </a:lnTo>
                <a:lnTo>
                  <a:pt x="3185" y="5766"/>
                </a:lnTo>
                <a:lnTo>
                  <a:pt x="3039" y="5777"/>
                </a:lnTo>
                <a:lnTo>
                  <a:pt x="2890" y="5780"/>
                </a:lnTo>
                <a:lnTo>
                  <a:pt x="2741" y="5777"/>
                </a:lnTo>
                <a:lnTo>
                  <a:pt x="2594" y="5766"/>
                </a:lnTo>
                <a:lnTo>
                  <a:pt x="2450" y="5747"/>
                </a:lnTo>
                <a:lnTo>
                  <a:pt x="2307" y="5722"/>
                </a:lnTo>
                <a:lnTo>
                  <a:pt x="2168" y="5690"/>
                </a:lnTo>
                <a:lnTo>
                  <a:pt x="2030" y="5650"/>
                </a:lnTo>
                <a:lnTo>
                  <a:pt x="1896" y="5605"/>
                </a:lnTo>
                <a:lnTo>
                  <a:pt x="1765" y="5553"/>
                </a:lnTo>
                <a:lnTo>
                  <a:pt x="1637" y="5495"/>
                </a:lnTo>
                <a:lnTo>
                  <a:pt x="1512" y="5431"/>
                </a:lnTo>
                <a:lnTo>
                  <a:pt x="1391" y="5362"/>
                </a:lnTo>
                <a:lnTo>
                  <a:pt x="1274" y="5287"/>
                </a:lnTo>
                <a:lnTo>
                  <a:pt x="1160" y="5206"/>
                </a:lnTo>
                <a:lnTo>
                  <a:pt x="1052" y="5120"/>
                </a:lnTo>
                <a:lnTo>
                  <a:pt x="947" y="5030"/>
                </a:lnTo>
                <a:lnTo>
                  <a:pt x="847" y="4933"/>
                </a:lnTo>
                <a:lnTo>
                  <a:pt x="750" y="4833"/>
                </a:lnTo>
                <a:lnTo>
                  <a:pt x="660" y="4728"/>
                </a:lnTo>
                <a:lnTo>
                  <a:pt x="574" y="4619"/>
                </a:lnTo>
                <a:lnTo>
                  <a:pt x="493" y="4506"/>
                </a:lnTo>
                <a:lnTo>
                  <a:pt x="418" y="4389"/>
                </a:lnTo>
                <a:lnTo>
                  <a:pt x="349" y="4268"/>
                </a:lnTo>
                <a:lnTo>
                  <a:pt x="285" y="4143"/>
                </a:lnTo>
                <a:lnTo>
                  <a:pt x="227" y="4015"/>
                </a:lnTo>
                <a:lnTo>
                  <a:pt x="175" y="3884"/>
                </a:lnTo>
                <a:lnTo>
                  <a:pt x="129" y="3750"/>
                </a:lnTo>
                <a:lnTo>
                  <a:pt x="90" y="3612"/>
                </a:lnTo>
                <a:lnTo>
                  <a:pt x="58" y="3473"/>
                </a:lnTo>
                <a:lnTo>
                  <a:pt x="33" y="3330"/>
                </a:lnTo>
                <a:lnTo>
                  <a:pt x="14" y="3186"/>
                </a:lnTo>
                <a:lnTo>
                  <a:pt x="3" y="3039"/>
                </a:lnTo>
                <a:lnTo>
                  <a:pt x="0" y="2890"/>
                </a:lnTo>
                <a:lnTo>
                  <a:pt x="3" y="2741"/>
                </a:lnTo>
                <a:lnTo>
                  <a:pt x="14" y="2594"/>
                </a:lnTo>
                <a:lnTo>
                  <a:pt x="33" y="2450"/>
                </a:lnTo>
                <a:lnTo>
                  <a:pt x="58" y="2307"/>
                </a:lnTo>
                <a:lnTo>
                  <a:pt x="90" y="2168"/>
                </a:lnTo>
                <a:lnTo>
                  <a:pt x="129" y="2030"/>
                </a:lnTo>
                <a:lnTo>
                  <a:pt x="175" y="1896"/>
                </a:lnTo>
                <a:lnTo>
                  <a:pt x="227" y="1765"/>
                </a:lnTo>
                <a:lnTo>
                  <a:pt x="285" y="1637"/>
                </a:lnTo>
                <a:lnTo>
                  <a:pt x="349" y="1512"/>
                </a:lnTo>
                <a:lnTo>
                  <a:pt x="418" y="1391"/>
                </a:lnTo>
                <a:lnTo>
                  <a:pt x="493" y="1274"/>
                </a:lnTo>
                <a:lnTo>
                  <a:pt x="574" y="1161"/>
                </a:lnTo>
                <a:lnTo>
                  <a:pt x="660" y="1052"/>
                </a:lnTo>
                <a:lnTo>
                  <a:pt x="750" y="947"/>
                </a:lnTo>
                <a:lnTo>
                  <a:pt x="847" y="847"/>
                </a:lnTo>
                <a:lnTo>
                  <a:pt x="947" y="750"/>
                </a:lnTo>
                <a:lnTo>
                  <a:pt x="1052" y="660"/>
                </a:lnTo>
                <a:lnTo>
                  <a:pt x="1160" y="574"/>
                </a:lnTo>
                <a:lnTo>
                  <a:pt x="1274" y="493"/>
                </a:lnTo>
                <a:lnTo>
                  <a:pt x="1391" y="418"/>
                </a:lnTo>
                <a:lnTo>
                  <a:pt x="1512" y="349"/>
                </a:lnTo>
                <a:lnTo>
                  <a:pt x="1637" y="285"/>
                </a:lnTo>
                <a:lnTo>
                  <a:pt x="1765" y="227"/>
                </a:lnTo>
                <a:lnTo>
                  <a:pt x="1896" y="175"/>
                </a:lnTo>
                <a:lnTo>
                  <a:pt x="2030" y="130"/>
                </a:lnTo>
                <a:lnTo>
                  <a:pt x="2168" y="90"/>
                </a:lnTo>
                <a:lnTo>
                  <a:pt x="2307" y="58"/>
                </a:lnTo>
                <a:lnTo>
                  <a:pt x="2450" y="33"/>
                </a:lnTo>
                <a:lnTo>
                  <a:pt x="2594" y="14"/>
                </a:lnTo>
                <a:lnTo>
                  <a:pt x="2741" y="3"/>
                </a:lnTo>
                <a:lnTo>
                  <a:pt x="2890" y="0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55" name="Freeform 7"/>
          <p:cNvSpPr>
            <a:spLocks/>
          </p:cNvSpPr>
          <p:nvPr/>
        </p:nvSpPr>
        <p:spPr bwMode="auto">
          <a:xfrm>
            <a:off x="7923833" y="4705701"/>
            <a:ext cx="646434" cy="646432"/>
          </a:xfrm>
          <a:custGeom>
            <a:avLst/>
            <a:gdLst>
              <a:gd name="T0" fmla="*/ 3185 w 5780"/>
              <a:gd name="T1" fmla="*/ 14 h 5780"/>
              <a:gd name="T2" fmla="*/ 3612 w 5780"/>
              <a:gd name="T3" fmla="*/ 90 h 5780"/>
              <a:gd name="T4" fmla="*/ 4015 w 5780"/>
              <a:gd name="T5" fmla="*/ 227 h 5780"/>
              <a:gd name="T6" fmla="*/ 4388 w 5780"/>
              <a:gd name="T7" fmla="*/ 418 h 5780"/>
              <a:gd name="T8" fmla="*/ 4728 w 5780"/>
              <a:gd name="T9" fmla="*/ 660 h 5780"/>
              <a:gd name="T10" fmla="*/ 5030 w 5780"/>
              <a:gd name="T11" fmla="*/ 947 h 5780"/>
              <a:gd name="T12" fmla="*/ 5287 w 5780"/>
              <a:gd name="T13" fmla="*/ 1274 h 5780"/>
              <a:gd name="T14" fmla="*/ 5495 w 5780"/>
              <a:gd name="T15" fmla="*/ 1637 h 5780"/>
              <a:gd name="T16" fmla="*/ 5650 w 5780"/>
              <a:gd name="T17" fmla="*/ 2030 h 5780"/>
              <a:gd name="T18" fmla="*/ 5747 w 5780"/>
              <a:gd name="T19" fmla="*/ 2450 h 5780"/>
              <a:gd name="T20" fmla="*/ 5780 w 5780"/>
              <a:gd name="T21" fmla="*/ 2890 h 5780"/>
              <a:gd name="T22" fmla="*/ 5747 w 5780"/>
              <a:gd name="T23" fmla="*/ 3330 h 5780"/>
              <a:gd name="T24" fmla="*/ 5650 w 5780"/>
              <a:gd name="T25" fmla="*/ 3750 h 5780"/>
              <a:gd name="T26" fmla="*/ 5495 w 5780"/>
              <a:gd name="T27" fmla="*/ 4143 h 5780"/>
              <a:gd name="T28" fmla="*/ 5287 w 5780"/>
              <a:gd name="T29" fmla="*/ 4506 h 5780"/>
              <a:gd name="T30" fmla="*/ 5030 w 5780"/>
              <a:gd name="T31" fmla="*/ 4833 h 5780"/>
              <a:gd name="T32" fmla="*/ 4728 w 5780"/>
              <a:gd name="T33" fmla="*/ 5120 h 5780"/>
              <a:gd name="T34" fmla="*/ 4388 w 5780"/>
              <a:gd name="T35" fmla="*/ 5362 h 5780"/>
              <a:gd name="T36" fmla="*/ 4015 w 5780"/>
              <a:gd name="T37" fmla="*/ 5553 h 5780"/>
              <a:gd name="T38" fmla="*/ 3612 w 5780"/>
              <a:gd name="T39" fmla="*/ 5690 h 5780"/>
              <a:gd name="T40" fmla="*/ 3185 w 5780"/>
              <a:gd name="T41" fmla="*/ 5766 h 5780"/>
              <a:gd name="T42" fmla="*/ 2741 w 5780"/>
              <a:gd name="T43" fmla="*/ 5777 h 5780"/>
              <a:gd name="T44" fmla="*/ 2307 w 5780"/>
              <a:gd name="T45" fmla="*/ 5722 h 5780"/>
              <a:gd name="T46" fmla="*/ 1896 w 5780"/>
              <a:gd name="T47" fmla="*/ 5605 h 5780"/>
              <a:gd name="T48" fmla="*/ 1512 w 5780"/>
              <a:gd name="T49" fmla="*/ 5431 h 5780"/>
              <a:gd name="T50" fmla="*/ 1160 w 5780"/>
              <a:gd name="T51" fmla="*/ 5206 h 5780"/>
              <a:gd name="T52" fmla="*/ 847 w 5780"/>
              <a:gd name="T53" fmla="*/ 4933 h 5780"/>
              <a:gd name="T54" fmla="*/ 574 w 5780"/>
              <a:gd name="T55" fmla="*/ 4619 h 5780"/>
              <a:gd name="T56" fmla="*/ 349 w 5780"/>
              <a:gd name="T57" fmla="*/ 4268 h 5780"/>
              <a:gd name="T58" fmla="*/ 175 w 5780"/>
              <a:gd name="T59" fmla="*/ 3884 h 5780"/>
              <a:gd name="T60" fmla="*/ 58 w 5780"/>
              <a:gd name="T61" fmla="*/ 3473 h 5780"/>
              <a:gd name="T62" fmla="*/ 3 w 5780"/>
              <a:gd name="T63" fmla="*/ 3039 h 5780"/>
              <a:gd name="T64" fmla="*/ 14 w 5780"/>
              <a:gd name="T65" fmla="*/ 2594 h 5780"/>
              <a:gd name="T66" fmla="*/ 90 w 5780"/>
              <a:gd name="T67" fmla="*/ 2168 h 5780"/>
              <a:gd name="T68" fmla="*/ 227 w 5780"/>
              <a:gd name="T69" fmla="*/ 1765 h 5780"/>
              <a:gd name="T70" fmla="*/ 418 w 5780"/>
              <a:gd name="T71" fmla="*/ 1391 h 5780"/>
              <a:gd name="T72" fmla="*/ 660 w 5780"/>
              <a:gd name="T73" fmla="*/ 1052 h 5780"/>
              <a:gd name="T74" fmla="*/ 947 w 5780"/>
              <a:gd name="T75" fmla="*/ 750 h 5780"/>
              <a:gd name="T76" fmla="*/ 1274 w 5780"/>
              <a:gd name="T77" fmla="*/ 493 h 5780"/>
              <a:gd name="T78" fmla="*/ 1637 w 5780"/>
              <a:gd name="T79" fmla="*/ 285 h 5780"/>
              <a:gd name="T80" fmla="*/ 2030 w 5780"/>
              <a:gd name="T81" fmla="*/ 130 h 5780"/>
              <a:gd name="T82" fmla="*/ 2450 w 5780"/>
              <a:gd name="T83" fmla="*/ 33 h 5780"/>
              <a:gd name="T84" fmla="*/ 2890 w 5780"/>
              <a:gd name="T85" fmla="*/ 0 h 5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780" h="5780">
                <a:moveTo>
                  <a:pt x="2890" y="0"/>
                </a:moveTo>
                <a:lnTo>
                  <a:pt x="3039" y="3"/>
                </a:lnTo>
                <a:lnTo>
                  <a:pt x="3185" y="14"/>
                </a:lnTo>
                <a:lnTo>
                  <a:pt x="3331" y="33"/>
                </a:lnTo>
                <a:lnTo>
                  <a:pt x="3472" y="58"/>
                </a:lnTo>
                <a:lnTo>
                  <a:pt x="3612" y="90"/>
                </a:lnTo>
                <a:lnTo>
                  <a:pt x="3749" y="130"/>
                </a:lnTo>
                <a:lnTo>
                  <a:pt x="3884" y="175"/>
                </a:lnTo>
                <a:lnTo>
                  <a:pt x="4015" y="227"/>
                </a:lnTo>
                <a:lnTo>
                  <a:pt x="4143" y="285"/>
                </a:lnTo>
                <a:lnTo>
                  <a:pt x="4268" y="349"/>
                </a:lnTo>
                <a:lnTo>
                  <a:pt x="4388" y="418"/>
                </a:lnTo>
                <a:lnTo>
                  <a:pt x="4506" y="493"/>
                </a:lnTo>
                <a:lnTo>
                  <a:pt x="4619" y="574"/>
                </a:lnTo>
                <a:lnTo>
                  <a:pt x="4728" y="660"/>
                </a:lnTo>
                <a:lnTo>
                  <a:pt x="4833" y="750"/>
                </a:lnTo>
                <a:lnTo>
                  <a:pt x="4934" y="847"/>
                </a:lnTo>
                <a:lnTo>
                  <a:pt x="5030" y="947"/>
                </a:lnTo>
                <a:lnTo>
                  <a:pt x="5120" y="1052"/>
                </a:lnTo>
                <a:lnTo>
                  <a:pt x="5206" y="1161"/>
                </a:lnTo>
                <a:lnTo>
                  <a:pt x="5287" y="1274"/>
                </a:lnTo>
                <a:lnTo>
                  <a:pt x="5362" y="1391"/>
                </a:lnTo>
                <a:lnTo>
                  <a:pt x="5431" y="1512"/>
                </a:lnTo>
                <a:lnTo>
                  <a:pt x="5495" y="1637"/>
                </a:lnTo>
                <a:lnTo>
                  <a:pt x="5553" y="1765"/>
                </a:lnTo>
                <a:lnTo>
                  <a:pt x="5605" y="1896"/>
                </a:lnTo>
                <a:lnTo>
                  <a:pt x="5650" y="2030"/>
                </a:lnTo>
                <a:lnTo>
                  <a:pt x="5689" y="2168"/>
                </a:lnTo>
                <a:lnTo>
                  <a:pt x="5722" y="2307"/>
                </a:lnTo>
                <a:lnTo>
                  <a:pt x="5747" y="2450"/>
                </a:lnTo>
                <a:lnTo>
                  <a:pt x="5765" y="2594"/>
                </a:lnTo>
                <a:lnTo>
                  <a:pt x="5776" y="2741"/>
                </a:lnTo>
                <a:lnTo>
                  <a:pt x="5780" y="2890"/>
                </a:lnTo>
                <a:lnTo>
                  <a:pt x="5776" y="3039"/>
                </a:lnTo>
                <a:lnTo>
                  <a:pt x="5765" y="3186"/>
                </a:lnTo>
                <a:lnTo>
                  <a:pt x="5747" y="3330"/>
                </a:lnTo>
                <a:lnTo>
                  <a:pt x="5722" y="3473"/>
                </a:lnTo>
                <a:lnTo>
                  <a:pt x="5689" y="3612"/>
                </a:lnTo>
                <a:lnTo>
                  <a:pt x="5650" y="3750"/>
                </a:lnTo>
                <a:lnTo>
                  <a:pt x="5605" y="3884"/>
                </a:lnTo>
                <a:lnTo>
                  <a:pt x="5553" y="4015"/>
                </a:lnTo>
                <a:lnTo>
                  <a:pt x="5495" y="4143"/>
                </a:lnTo>
                <a:lnTo>
                  <a:pt x="5431" y="4268"/>
                </a:lnTo>
                <a:lnTo>
                  <a:pt x="5362" y="4389"/>
                </a:lnTo>
                <a:lnTo>
                  <a:pt x="5287" y="4506"/>
                </a:lnTo>
                <a:lnTo>
                  <a:pt x="5206" y="4619"/>
                </a:lnTo>
                <a:lnTo>
                  <a:pt x="5120" y="4728"/>
                </a:lnTo>
                <a:lnTo>
                  <a:pt x="5030" y="4833"/>
                </a:lnTo>
                <a:lnTo>
                  <a:pt x="4934" y="4933"/>
                </a:lnTo>
                <a:lnTo>
                  <a:pt x="4833" y="5030"/>
                </a:lnTo>
                <a:lnTo>
                  <a:pt x="4728" y="5120"/>
                </a:lnTo>
                <a:lnTo>
                  <a:pt x="4619" y="5206"/>
                </a:lnTo>
                <a:lnTo>
                  <a:pt x="4506" y="5287"/>
                </a:lnTo>
                <a:lnTo>
                  <a:pt x="4388" y="5362"/>
                </a:lnTo>
                <a:lnTo>
                  <a:pt x="4268" y="5431"/>
                </a:lnTo>
                <a:lnTo>
                  <a:pt x="4143" y="5495"/>
                </a:lnTo>
                <a:lnTo>
                  <a:pt x="4015" y="5553"/>
                </a:lnTo>
                <a:lnTo>
                  <a:pt x="3884" y="5605"/>
                </a:lnTo>
                <a:lnTo>
                  <a:pt x="3749" y="5650"/>
                </a:lnTo>
                <a:lnTo>
                  <a:pt x="3612" y="5690"/>
                </a:lnTo>
                <a:lnTo>
                  <a:pt x="3472" y="5722"/>
                </a:lnTo>
                <a:lnTo>
                  <a:pt x="3331" y="5747"/>
                </a:lnTo>
                <a:lnTo>
                  <a:pt x="3185" y="5766"/>
                </a:lnTo>
                <a:lnTo>
                  <a:pt x="3039" y="5777"/>
                </a:lnTo>
                <a:lnTo>
                  <a:pt x="2890" y="5780"/>
                </a:lnTo>
                <a:lnTo>
                  <a:pt x="2741" y="5777"/>
                </a:lnTo>
                <a:lnTo>
                  <a:pt x="2594" y="5766"/>
                </a:lnTo>
                <a:lnTo>
                  <a:pt x="2450" y="5747"/>
                </a:lnTo>
                <a:lnTo>
                  <a:pt x="2307" y="5722"/>
                </a:lnTo>
                <a:lnTo>
                  <a:pt x="2168" y="5690"/>
                </a:lnTo>
                <a:lnTo>
                  <a:pt x="2030" y="5650"/>
                </a:lnTo>
                <a:lnTo>
                  <a:pt x="1896" y="5605"/>
                </a:lnTo>
                <a:lnTo>
                  <a:pt x="1765" y="5553"/>
                </a:lnTo>
                <a:lnTo>
                  <a:pt x="1637" y="5495"/>
                </a:lnTo>
                <a:lnTo>
                  <a:pt x="1512" y="5431"/>
                </a:lnTo>
                <a:lnTo>
                  <a:pt x="1391" y="5362"/>
                </a:lnTo>
                <a:lnTo>
                  <a:pt x="1274" y="5287"/>
                </a:lnTo>
                <a:lnTo>
                  <a:pt x="1160" y="5206"/>
                </a:lnTo>
                <a:lnTo>
                  <a:pt x="1052" y="5120"/>
                </a:lnTo>
                <a:lnTo>
                  <a:pt x="947" y="5030"/>
                </a:lnTo>
                <a:lnTo>
                  <a:pt x="847" y="4933"/>
                </a:lnTo>
                <a:lnTo>
                  <a:pt x="750" y="4833"/>
                </a:lnTo>
                <a:lnTo>
                  <a:pt x="660" y="4728"/>
                </a:lnTo>
                <a:lnTo>
                  <a:pt x="574" y="4619"/>
                </a:lnTo>
                <a:lnTo>
                  <a:pt x="493" y="4506"/>
                </a:lnTo>
                <a:lnTo>
                  <a:pt x="418" y="4389"/>
                </a:lnTo>
                <a:lnTo>
                  <a:pt x="349" y="4268"/>
                </a:lnTo>
                <a:lnTo>
                  <a:pt x="285" y="4143"/>
                </a:lnTo>
                <a:lnTo>
                  <a:pt x="227" y="4015"/>
                </a:lnTo>
                <a:lnTo>
                  <a:pt x="175" y="3884"/>
                </a:lnTo>
                <a:lnTo>
                  <a:pt x="129" y="3750"/>
                </a:lnTo>
                <a:lnTo>
                  <a:pt x="90" y="3612"/>
                </a:lnTo>
                <a:lnTo>
                  <a:pt x="58" y="3473"/>
                </a:lnTo>
                <a:lnTo>
                  <a:pt x="33" y="3330"/>
                </a:lnTo>
                <a:lnTo>
                  <a:pt x="14" y="3186"/>
                </a:lnTo>
                <a:lnTo>
                  <a:pt x="3" y="3039"/>
                </a:lnTo>
                <a:lnTo>
                  <a:pt x="0" y="2890"/>
                </a:lnTo>
                <a:lnTo>
                  <a:pt x="3" y="2741"/>
                </a:lnTo>
                <a:lnTo>
                  <a:pt x="14" y="2594"/>
                </a:lnTo>
                <a:lnTo>
                  <a:pt x="33" y="2450"/>
                </a:lnTo>
                <a:lnTo>
                  <a:pt x="58" y="2307"/>
                </a:lnTo>
                <a:lnTo>
                  <a:pt x="90" y="2168"/>
                </a:lnTo>
                <a:lnTo>
                  <a:pt x="129" y="2030"/>
                </a:lnTo>
                <a:lnTo>
                  <a:pt x="175" y="1896"/>
                </a:lnTo>
                <a:lnTo>
                  <a:pt x="227" y="1765"/>
                </a:lnTo>
                <a:lnTo>
                  <a:pt x="285" y="1637"/>
                </a:lnTo>
                <a:lnTo>
                  <a:pt x="349" y="1512"/>
                </a:lnTo>
                <a:lnTo>
                  <a:pt x="418" y="1391"/>
                </a:lnTo>
                <a:lnTo>
                  <a:pt x="493" y="1274"/>
                </a:lnTo>
                <a:lnTo>
                  <a:pt x="574" y="1161"/>
                </a:lnTo>
                <a:lnTo>
                  <a:pt x="660" y="1052"/>
                </a:lnTo>
                <a:lnTo>
                  <a:pt x="750" y="947"/>
                </a:lnTo>
                <a:lnTo>
                  <a:pt x="847" y="847"/>
                </a:lnTo>
                <a:lnTo>
                  <a:pt x="947" y="750"/>
                </a:lnTo>
                <a:lnTo>
                  <a:pt x="1052" y="660"/>
                </a:lnTo>
                <a:lnTo>
                  <a:pt x="1160" y="574"/>
                </a:lnTo>
                <a:lnTo>
                  <a:pt x="1274" y="493"/>
                </a:lnTo>
                <a:lnTo>
                  <a:pt x="1391" y="418"/>
                </a:lnTo>
                <a:lnTo>
                  <a:pt x="1512" y="349"/>
                </a:lnTo>
                <a:lnTo>
                  <a:pt x="1637" y="285"/>
                </a:lnTo>
                <a:lnTo>
                  <a:pt x="1765" y="227"/>
                </a:lnTo>
                <a:lnTo>
                  <a:pt x="1896" y="175"/>
                </a:lnTo>
                <a:lnTo>
                  <a:pt x="2030" y="130"/>
                </a:lnTo>
                <a:lnTo>
                  <a:pt x="2168" y="90"/>
                </a:lnTo>
                <a:lnTo>
                  <a:pt x="2307" y="58"/>
                </a:lnTo>
                <a:lnTo>
                  <a:pt x="2450" y="33"/>
                </a:lnTo>
                <a:lnTo>
                  <a:pt x="2594" y="14"/>
                </a:lnTo>
                <a:lnTo>
                  <a:pt x="2741" y="3"/>
                </a:lnTo>
                <a:lnTo>
                  <a:pt x="2890" y="0"/>
                </a:lnTo>
                <a:close/>
              </a:path>
            </a:pathLst>
          </a:cu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46" name="Freeform 11"/>
          <p:cNvSpPr>
            <a:spLocks/>
          </p:cNvSpPr>
          <p:nvPr/>
        </p:nvSpPr>
        <p:spPr bwMode="auto">
          <a:xfrm>
            <a:off x="8039361" y="2278956"/>
            <a:ext cx="398202" cy="328948"/>
          </a:xfrm>
          <a:custGeom>
            <a:avLst/>
            <a:gdLst>
              <a:gd name="T0" fmla="*/ 0 w 1563"/>
              <a:gd name="T1" fmla="*/ 47 h 1291"/>
              <a:gd name="T2" fmla="*/ 259 w 1563"/>
              <a:gd name="T3" fmla="*/ 497 h 1291"/>
              <a:gd name="T4" fmla="*/ 278 w 1563"/>
              <a:gd name="T5" fmla="*/ 529 h 1291"/>
              <a:gd name="T6" fmla="*/ 313 w 1563"/>
              <a:gd name="T7" fmla="*/ 520 h 1291"/>
              <a:gd name="T8" fmla="*/ 551 w 1563"/>
              <a:gd name="T9" fmla="*/ 456 h 1291"/>
              <a:gd name="T10" fmla="*/ 778 w 1563"/>
              <a:gd name="T11" fmla="*/ 849 h 1291"/>
              <a:gd name="T12" fmla="*/ 809 w 1563"/>
              <a:gd name="T13" fmla="*/ 903 h 1291"/>
              <a:gd name="T14" fmla="*/ 853 w 1563"/>
              <a:gd name="T15" fmla="*/ 859 h 1291"/>
              <a:gd name="T16" fmla="*/ 1049 w 1563"/>
              <a:gd name="T17" fmla="*/ 662 h 1291"/>
              <a:gd name="T18" fmla="*/ 1296 w 1563"/>
              <a:gd name="T19" fmla="*/ 1090 h 1291"/>
              <a:gd name="T20" fmla="*/ 1112 w 1563"/>
              <a:gd name="T21" fmla="*/ 1204 h 1291"/>
              <a:gd name="T22" fmla="*/ 1476 w 1563"/>
              <a:gd name="T23" fmla="*/ 1291 h 1291"/>
              <a:gd name="T24" fmla="*/ 1563 w 1563"/>
              <a:gd name="T25" fmla="*/ 927 h 1291"/>
              <a:gd name="T26" fmla="*/ 1378 w 1563"/>
              <a:gd name="T27" fmla="*/ 1041 h 1291"/>
              <a:gd name="T28" fmla="*/ 1101 w 1563"/>
              <a:gd name="T29" fmla="*/ 561 h 1291"/>
              <a:gd name="T30" fmla="*/ 1070 w 1563"/>
              <a:gd name="T31" fmla="*/ 506 h 1291"/>
              <a:gd name="T32" fmla="*/ 1025 w 1563"/>
              <a:gd name="T33" fmla="*/ 551 h 1291"/>
              <a:gd name="T34" fmla="*/ 829 w 1563"/>
              <a:gd name="T35" fmla="*/ 746 h 1291"/>
              <a:gd name="T36" fmla="*/ 616 w 1563"/>
              <a:gd name="T37" fmla="*/ 376 h 1291"/>
              <a:gd name="T38" fmla="*/ 597 w 1563"/>
              <a:gd name="T39" fmla="*/ 344 h 1291"/>
              <a:gd name="T40" fmla="*/ 562 w 1563"/>
              <a:gd name="T41" fmla="*/ 353 h 1291"/>
              <a:gd name="T42" fmla="*/ 323 w 1563"/>
              <a:gd name="T43" fmla="*/ 417 h 1291"/>
              <a:gd name="T44" fmla="*/ 83 w 1563"/>
              <a:gd name="T45" fmla="*/ 0 h 1291"/>
              <a:gd name="T46" fmla="*/ 0 w 1563"/>
              <a:gd name="T47" fmla="*/ 47 h 1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63" h="1291">
                <a:moveTo>
                  <a:pt x="0" y="47"/>
                </a:moveTo>
                <a:lnTo>
                  <a:pt x="259" y="497"/>
                </a:lnTo>
                <a:lnTo>
                  <a:pt x="278" y="529"/>
                </a:lnTo>
                <a:lnTo>
                  <a:pt x="313" y="520"/>
                </a:lnTo>
                <a:lnTo>
                  <a:pt x="551" y="456"/>
                </a:lnTo>
                <a:lnTo>
                  <a:pt x="778" y="849"/>
                </a:lnTo>
                <a:lnTo>
                  <a:pt x="809" y="903"/>
                </a:lnTo>
                <a:lnTo>
                  <a:pt x="853" y="859"/>
                </a:lnTo>
                <a:lnTo>
                  <a:pt x="1049" y="662"/>
                </a:lnTo>
                <a:lnTo>
                  <a:pt x="1296" y="1090"/>
                </a:lnTo>
                <a:lnTo>
                  <a:pt x="1112" y="1204"/>
                </a:lnTo>
                <a:lnTo>
                  <a:pt x="1476" y="1291"/>
                </a:lnTo>
                <a:lnTo>
                  <a:pt x="1563" y="927"/>
                </a:lnTo>
                <a:lnTo>
                  <a:pt x="1378" y="1041"/>
                </a:lnTo>
                <a:lnTo>
                  <a:pt x="1101" y="561"/>
                </a:lnTo>
                <a:lnTo>
                  <a:pt x="1070" y="506"/>
                </a:lnTo>
                <a:lnTo>
                  <a:pt x="1025" y="551"/>
                </a:lnTo>
                <a:lnTo>
                  <a:pt x="829" y="746"/>
                </a:lnTo>
                <a:lnTo>
                  <a:pt x="616" y="376"/>
                </a:lnTo>
                <a:lnTo>
                  <a:pt x="597" y="344"/>
                </a:lnTo>
                <a:lnTo>
                  <a:pt x="562" y="353"/>
                </a:lnTo>
                <a:lnTo>
                  <a:pt x="323" y="417"/>
                </a:lnTo>
                <a:lnTo>
                  <a:pt x="83" y="0"/>
                </a:ln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Freeform 12"/>
          <p:cNvSpPr>
            <a:spLocks/>
          </p:cNvSpPr>
          <p:nvPr/>
        </p:nvSpPr>
        <p:spPr bwMode="auto">
          <a:xfrm>
            <a:off x="8108566" y="4885110"/>
            <a:ext cx="281372" cy="267026"/>
          </a:xfrm>
          <a:custGeom>
            <a:avLst/>
            <a:gdLst>
              <a:gd name="T0" fmla="*/ 509 w 1018"/>
              <a:gd name="T1" fmla="*/ 0 h 968"/>
              <a:gd name="T2" fmla="*/ 665 w 1018"/>
              <a:gd name="T3" fmla="*/ 321 h 968"/>
              <a:gd name="T4" fmla="*/ 1018 w 1018"/>
              <a:gd name="T5" fmla="*/ 370 h 968"/>
              <a:gd name="T6" fmla="*/ 761 w 1018"/>
              <a:gd name="T7" fmla="*/ 617 h 968"/>
              <a:gd name="T8" fmla="*/ 824 w 1018"/>
              <a:gd name="T9" fmla="*/ 968 h 968"/>
              <a:gd name="T10" fmla="*/ 509 w 1018"/>
              <a:gd name="T11" fmla="*/ 800 h 968"/>
              <a:gd name="T12" fmla="*/ 194 w 1018"/>
              <a:gd name="T13" fmla="*/ 968 h 968"/>
              <a:gd name="T14" fmla="*/ 257 w 1018"/>
              <a:gd name="T15" fmla="*/ 617 h 968"/>
              <a:gd name="T16" fmla="*/ 0 w 1018"/>
              <a:gd name="T17" fmla="*/ 370 h 968"/>
              <a:gd name="T18" fmla="*/ 353 w 1018"/>
              <a:gd name="T19" fmla="*/ 321 h 968"/>
              <a:gd name="T20" fmla="*/ 509 w 1018"/>
              <a:gd name="T21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18" h="968">
                <a:moveTo>
                  <a:pt x="509" y="0"/>
                </a:moveTo>
                <a:lnTo>
                  <a:pt x="665" y="321"/>
                </a:lnTo>
                <a:lnTo>
                  <a:pt x="1018" y="370"/>
                </a:lnTo>
                <a:lnTo>
                  <a:pt x="761" y="617"/>
                </a:lnTo>
                <a:lnTo>
                  <a:pt x="824" y="968"/>
                </a:lnTo>
                <a:lnTo>
                  <a:pt x="509" y="800"/>
                </a:lnTo>
                <a:lnTo>
                  <a:pt x="194" y="968"/>
                </a:lnTo>
                <a:lnTo>
                  <a:pt x="257" y="617"/>
                </a:lnTo>
                <a:lnTo>
                  <a:pt x="0" y="370"/>
                </a:lnTo>
                <a:lnTo>
                  <a:pt x="353" y="321"/>
                </a:lnTo>
                <a:lnTo>
                  <a:pt x="50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Freeform 13"/>
          <p:cNvSpPr>
            <a:spLocks noEditPoints="1"/>
          </p:cNvSpPr>
          <p:nvPr/>
        </p:nvSpPr>
        <p:spPr bwMode="auto">
          <a:xfrm>
            <a:off x="925116" y="4883589"/>
            <a:ext cx="66886" cy="285058"/>
          </a:xfrm>
          <a:custGeom>
            <a:avLst/>
            <a:gdLst>
              <a:gd name="T0" fmla="*/ 0 w 337"/>
              <a:gd name="T1" fmla="*/ 0 h 1432"/>
              <a:gd name="T2" fmla="*/ 337 w 337"/>
              <a:gd name="T3" fmla="*/ 0 h 1432"/>
              <a:gd name="T4" fmla="*/ 337 w 337"/>
              <a:gd name="T5" fmla="*/ 558 h 1432"/>
              <a:gd name="T6" fmla="*/ 272 w 337"/>
              <a:gd name="T7" fmla="*/ 1076 h 1432"/>
              <a:gd name="T8" fmla="*/ 64 w 337"/>
              <a:gd name="T9" fmla="*/ 1076 h 1432"/>
              <a:gd name="T10" fmla="*/ 0 w 337"/>
              <a:gd name="T11" fmla="*/ 558 h 1432"/>
              <a:gd name="T12" fmla="*/ 0 w 337"/>
              <a:gd name="T13" fmla="*/ 0 h 1432"/>
              <a:gd name="T14" fmla="*/ 12 w 337"/>
              <a:gd name="T15" fmla="*/ 1154 h 1432"/>
              <a:gd name="T16" fmla="*/ 326 w 337"/>
              <a:gd name="T17" fmla="*/ 1154 h 1432"/>
              <a:gd name="T18" fmla="*/ 326 w 337"/>
              <a:gd name="T19" fmla="*/ 1432 h 1432"/>
              <a:gd name="T20" fmla="*/ 12 w 337"/>
              <a:gd name="T21" fmla="*/ 1432 h 1432"/>
              <a:gd name="T22" fmla="*/ 12 w 337"/>
              <a:gd name="T23" fmla="*/ 1154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7" h="1432">
                <a:moveTo>
                  <a:pt x="0" y="0"/>
                </a:moveTo>
                <a:lnTo>
                  <a:pt x="337" y="0"/>
                </a:lnTo>
                <a:lnTo>
                  <a:pt x="337" y="558"/>
                </a:lnTo>
                <a:lnTo>
                  <a:pt x="272" y="1076"/>
                </a:lnTo>
                <a:lnTo>
                  <a:pt x="64" y="1076"/>
                </a:lnTo>
                <a:lnTo>
                  <a:pt x="0" y="558"/>
                </a:lnTo>
                <a:lnTo>
                  <a:pt x="0" y="0"/>
                </a:lnTo>
                <a:close/>
                <a:moveTo>
                  <a:pt x="12" y="1154"/>
                </a:moveTo>
                <a:lnTo>
                  <a:pt x="326" y="1154"/>
                </a:lnTo>
                <a:lnTo>
                  <a:pt x="326" y="1432"/>
                </a:lnTo>
                <a:lnTo>
                  <a:pt x="12" y="1432"/>
                </a:lnTo>
                <a:lnTo>
                  <a:pt x="12" y="11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Rectangle 33"/>
          <p:cNvSpPr>
            <a:spLocks/>
          </p:cNvSpPr>
          <p:nvPr/>
        </p:nvSpPr>
        <p:spPr bwMode="auto">
          <a:xfrm>
            <a:off x="1412263" y="2112262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/>
              <a:t>LOREM IPSUM 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157" name="Rectangle 33"/>
          <p:cNvSpPr>
            <a:spLocks/>
          </p:cNvSpPr>
          <p:nvPr/>
        </p:nvSpPr>
        <p:spPr bwMode="auto">
          <a:xfrm>
            <a:off x="1412263" y="4741446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/>
              <a:t>LOREM IPSUM 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158" name="Rectangle 33"/>
          <p:cNvSpPr>
            <a:spLocks/>
          </p:cNvSpPr>
          <p:nvPr/>
        </p:nvSpPr>
        <p:spPr bwMode="auto">
          <a:xfrm>
            <a:off x="6068399" y="2112262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smtClean="0"/>
              <a:t>LOREM IPSUM </a:t>
            </a:r>
          </a:p>
          <a:p>
            <a:pPr algn="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159" name="Rectangle 33"/>
          <p:cNvSpPr>
            <a:spLocks/>
          </p:cNvSpPr>
          <p:nvPr/>
        </p:nvSpPr>
        <p:spPr bwMode="auto">
          <a:xfrm>
            <a:off x="6068399" y="4741446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r"/>
            <a:r>
              <a:rPr lang="en-US" sz="1100" b="1" dirty="0" smtClean="0"/>
              <a:t>LOREM IPSUM </a:t>
            </a:r>
          </a:p>
          <a:p>
            <a:pPr algn="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164" name="TextBox 163"/>
          <p:cNvSpPr txBox="1"/>
          <p:nvPr/>
        </p:nvSpPr>
        <p:spPr>
          <a:xfrm rot="18900000">
            <a:off x="3709247" y="3106546"/>
            <a:ext cx="852984" cy="340578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STRENGTH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5" name="TextBox 164"/>
          <p:cNvSpPr txBox="1"/>
          <p:nvPr/>
        </p:nvSpPr>
        <p:spPr>
          <a:xfrm rot="2700000">
            <a:off x="4532975" y="3066035"/>
            <a:ext cx="888488" cy="421597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WEAKNES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6" name="TextBox 165"/>
          <p:cNvSpPr txBox="1"/>
          <p:nvPr/>
        </p:nvSpPr>
        <p:spPr>
          <a:xfrm rot="18900000">
            <a:off x="4417885" y="3870937"/>
            <a:ext cx="1154176" cy="487243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OPPORTUNITY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2" name="TextBox 171"/>
          <p:cNvSpPr txBox="1"/>
          <p:nvPr/>
        </p:nvSpPr>
        <p:spPr>
          <a:xfrm rot="2700000">
            <a:off x="3713114" y="4043169"/>
            <a:ext cx="747384" cy="307777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THREA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4163023" y="3520566"/>
            <a:ext cx="8280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SWOT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264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/>
        </p:nvCxnSpPr>
        <p:spPr>
          <a:xfrm>
            <a:off x="2258121" y="3116580"/>
            <a:ext cx="4794590" cy="0"/>
          </a:xfrm>
          <a:prstGeom prst="line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2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564309" y="2652713"/>
            <a:ext cx="939976" cy="939976"/>
            <a:chOff x="1564309" y="2424113"/>
            <a:chExt cx="939976" cy="939976"/>
          </a:xfrm>
        </p:grpSpPr>
        <p:grpSp>
          <p:nvGrpSpPr>
            <p:cNvPr id="3" name="Group 2"/>
            <p:cNvGrpSpPr/>
            <p:nvPr/>
          </p:nvGrpSpPr>
          <p:grpSpPr>
            <a:xfrm>
              <a:off x="1630494" y="2490299"/>
              <a:ext cx="807606" cy="807604"/>
              <a:chOff x="641954" y="2128152"/>
              <a:chExt cx="646434" cy="646432"/>
            </a:xfrm>
          </p:grpSpPr>
          <p:sp>
            <p:nvSpPr>
              <p:cNvPr id="26" name="Freeform 7"/>
              <p:cNvSpPr>
                <a:spLocks/>
              </p:cNvSpPr>
              <p:nvPr/>
            </p:nvSpPr>
            <p:spPr bwMode="auto">
              <a:xfrm>
                <a:off x="641954" y="2128152"/>
                <a:ext cx="646434" cy="646432"/>
              </a:xfrm>
              <a:custGeom>
                <a:avLst/>
                <a:gdLst>
                  <a:gd name="T0" fmla="*/ 3185 w 5780"/>
                  <a:gd name="T1" fmla="*/ 14 h 5780"/>
                  <a:gd name="T2" fmla="*/ 3612 w 5780"/>
                  <a:gd name="T3" fmla="*/ 90 h 5780"/>
                  <a:gd name="T4" fmla="*/ 4015 w 5780"/>
                  <a:gd name="T5" fmla="*/ 227 h 5780"/>
                  <a:gd name="T6" fmla="*/ 4388 w 5780"/>
                  <a:gd name="T7" fmla="*/ 418 h 5780"/>
                  <a:gd name="T8" fmla="*/ 4728 w 5780"/>
                  <a:gd name="T9" fmla="*/ 660 h 5780"/>
                  <a:gd name="T10" fmla="*/ 5030 w 5780"/>
                  <a:gd name="T11" fmla="*/ 947 h 5780"/>
                  <a:gd name="T12" fmla="*/ 5287 w 5780"/>
                  <a:gd name="T13" fmla="*/ 1274 h 5780"/>
                  <a:gd name="T14" fmla="*/ 5495 w 5780"/>
                  <a:gd name="T15" fmla="*/ 1637 h 5780"/>
                  <a:gd name="T16" fmla="*/ 5650 w 5780"/>
                  <a:gd name="T17" fmla="*/ 2030 h 5780"/>
                  <a:gd name="T18" fmla="*/ 5747 w 5780"/>
                  <a:gd name="T19" fmla="*/ 2450 h 5780"/>
                  <a:gd name="T20" fmla="*/ 5780 w 5780"/>
                  <a:gd name="T21" fmla="*/ 2890 h 5780"/>
                  <a:gd name="T22" fmla="*/ 5747 w 5780"/>
                  <a:gd name="T23" fmla="*/ 3330 h 5780"/>
                  <a:gd name="T24" fmla="*/ 5650 w 5780"/>
                  <a:gd name="T25" fmla="*/ 3750 h 5780"/>
                  <a:gd name="T26" fmla="*/ 5495 w 5780"/>
                  <a:gd name="T27" fmla="*/ 4143 h 5780"/>
                  <a:gd name="T28" fmla="*/ 5287 w 5780"/>
                  <a:gd name="T29" fmla="*/ 4506 h 5780"/>
                  <a:gd name="T30" fmla="*/ 5030 w 5780"/>
                  <a:gd name="T31" fmla="*/ 4833 h 5780"/>
                  <a:gd name="T32" fmla="*/ 4728 w 5780"/>
                  <a:gd name="T33" fmla="*/ 5120 h 5780"/>
                  <a:gd name="T34" fmla="*/ 4388 w 5780"/>
                  <a:gd name="T35" fmla="*/ 5362 h 5780"/>
                  <a:gd name="T36" fmla="*/ 4015 w 5780"/>
                  <a:gd name="T37" fmla="*/ 5553 h 5780"/>
                  <a:gd name="T38" fmla="*/ 3612 w 5780"/>
                  <a:gd name="T39" fmla="*/ 5690 h 5780"/>
                  <a:gd name="T40" fmla="*/ 3185 w 5780"/>
                  <a:gd name="T41" fmla="*/ 5766 h 5780"/>
                  <a:gd name="T42" fmla="*/ 2741 w 5780"/>
                  <a:gd name="T43" fmla="*/ 5777 h 5780"/>
                  <a:gd name="T44" fmla="*/ 2307 w 5780"/>
                  <a:gd name="T45" fmla="*/ 5722 h 5780"/>
                  <a:gd name="T46" fmla="*/ 1896 w 5780"/>
                  <a:gd name="T47" fmla="*/ 5605 h 5780"/>
                  <a:gd name="T48" fmla="*/ 1512 w 5780"/>
                  <a:gd name="T49" fmla="*/ 5431 h 5780"/>
                  <a:gd name="T50" fmla="*/ 1160 w 5780"/>
                  <a:gd name="T51" fmla="*/ 5206 h 5780"/>
                  <a:gd name="T52" fmla="*/ 847 w 5780"/>
                  <a:gd name="T53" fmla="*/ 4933 h 5780"/>
                  <a:gd name="T54" fmla="*/ 574 w 5780"/>
                  <a:gd name="T55" fmla="*/ 4619 h 5780"/>
                  <a:gd name="T56" fmla="*/ 349 w 5780"/>
                  <a:gd name="T57" fmla="*/ 4268 h 5780"/>
                  <a:gd name="T58" fmla="*/ 175 w 5780"/>
                  <a:gd name="T59" fmla="*/ 3884 h 5780"/>
                  <a:gd name="T60" fmla="*/ 58 w 5780"/>
                  <a:gd name="T61" fmla="*/ 3473 h 5780"/>
                  <a:gd name="T62" fmla="*/ 3 w 5780"/>
                  <a:gd name="T63" fmla="*/ 3039 h 5780"/>
                  <a:gd name="T64" fmla="*/ 14 w 5780"/>
                  <a:gd name="T65" fmla="*/ 2594 h 5780"/>
                  <a:gd name="T66" fmla="*/ 90 w 5780"/>
                  <a:gd name="T67" fmla="*/ 2168 h 5780"/>
                  <a:gd name="T68" fmla="*/ 227 w 5780"/>
                  <a:gd name="T69" fmla="*/ 1765 h 5780"/>
                  <a:gd name="T70" fmla="*/ 418 w 5780"/>
                  <a:gd name="T71" fmla="*/ 1391 h 5780"/>
                  <a:gd name="T72" fmla="*/ 660 w 5780"/>
                  <a:gd name="T73" fmla="*/ 1052 h 5780"/>
                  <a:gd name="T74" fmla="*/ 947 w 5780"/>
                  <a:gd name="T75" fmla="*/ 750 h 5780"/>
                  <a:gd name="T76" fmla="*/ 1274 w 5780"/>
                  <a:gd name="T77" fmla="*/ 493 h 5780"/>
                  <a:gd name="T78" fmla="*/ 1637 w 5780"/>
                  <a:gd name="T79" fmla="*/ 285 h 5780"/>
                  <a:gd name="T80" fmla="*/ 2030 w 5780"/>
                  <a:gd name="T81" fmla="*/ 130 h 5780"/>
                  <a:gd name="T82" fmla="*/ 2450 w 5780"/>
                  <a:gd name="T83" fmla="*/ 33 h 5780"/>
                  <a:gd name="T84" fmla="*/ 2890 w 5780"/>
                  <a:gd name="T85" fmla="*/ 0 h 5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80" h="5780">
                    <a:moveTo>
                      <a:pt x="2890" y="0"/>
                    </a:moveTo>
                    <a:lnTo>
                      <a:pt x="3039" y="3"/>
                    </a:lnTo>
                    <a:lnTo>
                      <a:pt x="3185" y="14"/>
                    </a:lnTo>
                    <a:lnTo>
                      <a:pt x="3331" y="33"/>
                    </a:lnTo>
                    <a:lnTo>
                      <a:pt x="3472" y="58"/>
                    </a:lnTo>
                    <a:lnTo>
                      <a:pt x="3612" y="90"/>
                    </a:lnTo>
                    <a:lnTo>
                      <a:pt x="3749" y="130"/>
                    </a:lnTo>
                    <a:lnTo>
                      <a:pt x="3884" y="175"/>
                    </a:lnTo>
                    <a:lnTo>
                      <a:pt x="4015" y="227"/>
                    </a:lnTo>
                    <a:lnTo>
                      <a:pt x="4143" y="285"/>
                    </a:lnTo>
                    <a:lnTo>
                      <a:pt x="4268" y="349"/>
                    </a:lnTo>
                    <a:lnTo>
                      <a:pt x="4388" y="418"/>
                    </a:lnTo>
                    <a:lnTo>
                      <a:pt x="4506" y="493"/>
                    </a:lnTo>
                    <a:lnTo>
                      <a:pt x="4619" y="574"/>
                    </a:lnTo>
                    <a:lnTo>
                      <a:pt x="4728" y="660"/>
                    </a:lnTo>
                    <a:lnTo>
                      <a:pt x="4833" y="750"/>
                    </a:lnTo>
                    <a:lnTo>
                      <a:pt x="4934" y="847"/>
                    </a:lnTo>
                    <a:lnTo>
                      <a:pt x="5030" y="947"/>
                    </a:lnTo>
                    <a:lnTo>
                      <a:pt x="5120" y="1052"/>
                    </a:lnTo>
                    <a:lnTo>
                      <a:pt x="5206" y="1161"/>
                    </a:lnTo>
                    <a:lnTo>
                      <a:pt x="5287" y="1274"/>
                    </a:lnTo>
                    <a:lnTo>
                      <a:pt x="5362" y="1391"/>
                    </a:lnTo>
                    <a:lnTo>
                      <a:pt x="5431" y="1512"/>
                    </a:lnTo>
                    <a:lnTo>
                      <a:pt x="5495" y="1637"/>
                    </a:lnTo>
                    <a:lnTo>
                      <a:pt x="5553" y="1765"/>
                    </a:lnTo>
                    <a:lnTo>
                      <a:pt x="5605" y="1896"/>
                    </a:lnTo>
                    <a:lnTo>
                      <a:pt x="5650" y="2030"/>
                    </a:lnTo>
                    <a:lnTo>
                      <a:pt x="5689" y="2168"/>
                    </a:lnTo>
                    <a:lnTo>
                      <a:pt x="5722" y="2307"/>
                    </a:lnTo>
                    <a:lnTo>
                      <a:pt x="5747" y="2450"/>
                    </a:lnTo>
                    <a:lnTo>
                      <a:pt x="5765" y="2594"/>
                    </a:lnTo>
                    <a:lnTo>
                      <a:pt x="5776" y="2741"/>
                    </a:lnTo>
                    <a:lnTo>
                      <a:pt x="5780" y="2890"/>
                    </a:lnTo>
                    <a:lnTo>
                      <a:pt x="5776" y="3039"/>
                    </a:lnTo>
                    <a:lnTo>
                      <a:pt x="5765" y="3186"/>
                    </a:lnTo>
                    <a:lnTo>
                      <a:pt x="5747" y="3330"/>
                    </a:lnTo>
                    <a:lnTo>
                      <a:pt x="5722" y="3473"/>
                    </a:lnTo>
                    <a:lnTo>
                      <a:pt x="5689" y="3612"/>
                    </a:lnTo>
                    <a:lnTo>
                      <a:pt x="5650" y="3750"/>
                    </a:lnTo>
                    <a:lnTo>
                      <a:pt x="5605" y="3884"/>
                    </a:lnTo>
                    <a:lnTo>
                      <a:pt x="5553" y="4015"/>
                    </a:lnTo>
                    <a:lnTo>
                      <a:pt x="5495" y="4143"/>
                    </a:lnTo>
                    <a:lnTo>
                      <a:pt x="5431" y="4268"/>
                    </a:lnTo>
                    <a:lnTo>
                      <a:pt x="5362" y="4389"/>
                    </a:lnTo>
                    <a:lnTo>
                      <a:pt x="5287" y="4506"/>
                    </a:lnTo>
                    <a:lnTo>
                      <a:pt x="5206" y="4619"/>
                    </a:lnTo>
                    <a:lnTo>
                      <a:pt x="5120" y="4728"/>
                    </a:lnTo>
                    <a:lnTo>
                      <a:pt x="5030" y="4833"/>
                    </a:lnTo>
                    <a:lnTo>
                      <a:pt x="4934" y="4933"/>
                    </a:lnTo>
                    <a:lnTo>
                      <a:pt x="4833" y="5030"/>
                    </a:lnTo>
                    <a:lnTo>
                      <a:pt x="4728" y="5120"/>
                    </a:lnTo>
                    <a:lnTo>
                      <a:pt x="4619" y="5206"/>
                    </a:lnTo>
                    <a:lnTo>
                      <a:pt x="4506" y="5287"/>
                    </a:lnTo>
                    <a:lnTo>
                      <a:pt x="4388" y="5362"/>
                    </a:lnTo>
                    <a:lnTo>
                      <a:pt x="4268" y="5431"/>
                    </a:lnTo>
                    <a:lnTo>
                      <a:pt x="4143" y="5495"/>
                    </a:lnTo>
                    <a:lnTo>
                      <a:pt x="4015" y="5553"/>
                    </a:lnTo>
                    <a:lnTo>
                      <a:pt x="3884" y="5605"/>
                    </a:lnTo>
                    <a:lnTo>
                      <a:pt x="3749" y="5650"/>
                    </a:lnTo>
                    <a:lnTo>
                      <a:pt x="3612" y="5690"/>
                    </a:lnTo>
                    <a:lnTo>
                      <a:pt x="3472" y="5722"/>
                    </a:lnTo>
                    <a:lnTo>
                      <a:pt x="3331" y="5747"/>
                    </a:lnTo>
                    <a:lnTo>
                      <a:pt x="3185" y="5766"/>
                    </a:lnTo>
                    <a:lnTo>
                      <a:pt x="3039" y="5777"/>
                    </a:lnTo>
                    <a:lnTo>
                      <a:pt x="2890" y="5780"/>
                    </a:lnTo>
                    <a:lnTo>
                      <a:pt x="2741" y="5777"/>
                    </a:lnTo>
                    <a:lnTo>
                      <a:pt x="2594" y="5766"/>
                    </a:lnTo>
                    <a:lnTo>
                      <a:pt x="2450" y="5747"/>
                    </a:lnTo>
                    <a:lnTo>
                      <a:pt x="2307" y="5722"/>
                    </a:lnTo>
                    <a:lnTo>
                      <a:pt x="2168" y="5690"/>
                    </a:lnTo>
                    <a:lnTo>
                      <a:pt x="2030" y="5650"/>
                    </a:lnTo>
                    <a:lnTo>
                      <a:pt x="1896" y="5605"/>
                    </a:lnTo>
                    <a:lnTo>
                      <a:pt x="1765" y="5553"/>
                    </a:lnTo>
                    <a:lnTo>
                      <a:pt x="1637" y="5495"/>
                    </a:lnTo>
                    <a:lnTo>
                      <a:pt x="1512" y="5431"/>
                    </a:lnTo>
                    <a:lnTo>
                      <a:pt x="1391" y="5362"/>
                    </a:lnTo>
                    <a:lnTo>
                      <a:pt x="1274" y="5287"/>
                    </a:lnTo>
                    <a:lnTo>
                      <a:pt x="1160" y="5206"/>
                    </a:lnTo>
                    <a:lnTo>
                      <a:pt x="1052" y="5120"/>
                    </a:lnTo>
                    <a:lnTo>
                      <a:pt x="947" y="5030"/>
                    </a:lnTo>
                    <a:lnTo>
                      <a:pt x="847" y="4933"/>
                    </a:lnTo>
                    <a:lnTo>
                      <a:pt x="750" y="4833"/>
                    </a:lnTo>
                    <a:lnTo>
                      <a:pt x="660" y="4728"/>
                    </a:lnTo>
                    <a:lnTo>
                      <a:pt x="574" y="4619"/>
                    </a:lnTo>
                    <a:lnTo>
                      <a:pt x="493" y="4506"/>
                    </a:lnTo>
                    <a:lnTo>
                      <a:pt x="418" y="4389"/>
                    </a:lnTo>
                    <a:lnTo>
                      <a:pt x="349" y="4268"/>
                    </a:lnTo>
                    <a:lnTo>
                      <a:pt x="285" y="4143"/>
                    </a:lnTo>
                    <a:lnTo>
                      <a:pt x="227" y="4015"/>
                    </a:lnTo>
                    <a:lnTo>
                      <a:pt x="175" y="3884"/>
                    </a:lnTo>
                    <a:lnTo>
                      <a:pt x="129" y="3750"/>
                    </a:lnTo>
                    <a:lnTo>
                      <a:pt x="90" y="3612"/>
                    </a:lnTo>
                    <a:lnTo>
                      <a:pt x="58" y="3473"/>
                    </a:lnTo>
                    <a:lnTo>
                      <a:pt x="33" y="3330"/>
                    </a:lnTo>
                    <a:lnTo>
                      <a:pt x="14" y="3186"/>
                    </a:lnTo>
                    <a:lnTo>
                      <a:pt x="3" y="3039"/>
                    </a:lnTo>
                    <a:lnTo>
                      <a:pt x="0" y="2890"/>
                    </a:lnTo>
                    <a:lnTo>
                      <a:pt x="3" y="2741"/>
                    </a:lnTo>
                    <a:lnTo>
                      <a:pt x="14" y="2594"/>
                    </a:lnTo>
                    <a:lnTo>
                      <a:pt x="33" y="2450"/>
                    </a:lnTo>
                    <a:lnTo>
                      <a:pt x="58" y="2307"/>
                    </a:lnTo>
                    <a:lnTo>
                      <a:pt x="90" y="2168"/>
                    </a:lnTo>
                    <a:lnTo>
                      <a:pt x="129" y="2030"/>
                    </a:lnTo>
                    <a:lnTo>
                      <a:pt x="175" y="1896"/>
                    </a:lnTo>
                    <a:lnTo>
                      <a:pt x="227" y="1765"/>
                    </a:lnTo>
                    <a:lnTo>
                      <a:pt x="285" y="1637"/>
                    </a:lnTo>
                    <a:lnTo>
                      <a:pt x="349" y="1512"/>
                    </a:lnTo>
                    <a:lnTo>
                      <a:pt x="418" y="1391"/>
                    </a:lnTo>
                    <a:lnTo>
                      <a:pt x="493" y="1274"/>
                    </a:lnTo>
                    <a:lnTo>
                      <a:pt x="574" y="1161"/>
                    </a:lnTo>
                    <a:lnTo>
                      <a:pt x="660" y="1052"/>
                    </a:lnTo>
                    <a:lnTo>
                      <a:pt x="750" y="947"/>
                    </a:lnTo>
                    <a:lnTo>
                      <a:pt x="847" y="847"/>
                    </a:lnTo>
                    <a:lnTo>
                      <a:pt x="947" y="750"/>
                    </a:lnTo>
                    <a:lnTo>
                      <a:pt x="1052" y="660"/>
                    </a:lnTo>
                    <a:lnTo>
                      <a:pt x="1160" y="574"/>
                    </a:lnTo>
                    <a:lnTo>
                      <a:pt x="1274" y="493"/>
                    </a:lnTo>
                    <a:lnTo>
                      <a:pt x="1391" y="418"/>
                    </a:lnTo>
                    <a:lnTo>
                      <a:pt x="1512" y="349"/>
                    </a:lnTo>
                    <a:lnTo>
                      <a:pt x="1637" y="285"/>
                    </a:lnTo>
                    <a:lnTo>
                      <a:pt x="1765" y="227"/>
                    </a:lnTo>
                    <a:lnTo>
                      <a:pt x="1896" y="175"/>
                    </a:lnTo>
                    <a:lnTo>
                      <a:pt x="2030" y="130"/>
                    </a:lnTo>
                    <a:lnTo>
                      <a:pt x="2168" y="90"/>
                    </a:lnTo>
                    <a:lnTo>
                      <a:pt x="2307" y="58"/>
                    </a:lnTo>
                    <a:lnTo>
                      <a:pt x="2450" y="33"/>
                    </a:lnTo>
                    <a:lnTo>
                      <a:pt x="2594" y="14"/>
                    </a:lnTo>
                    <a:lnTo>
                      <a:pt x="2741" y="3"/>
                    </a:lnTo>
                    <a:lnTo>
                      <a:pt x="2890" y="0"/>
                    </a:lnTo>
                    <a:close/>
                  </a:path>
                </a:pathLst>
              </a:custGeom>
              <a:solidFill>
                <a:srgbClr val="2A9B18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27" name="Freeform 10"/>
              <p:cNvSpPr>
                <a:spLocks/>
              </p:cNvSpPr>
              <p:nvPr/>
            </p:nvSpPr>
            <p:spPr bwMode="auto">
              <a:xfrm>
                <a:off x="746125" y="2269431"/>
                <a:ext cx="398202" cy="328948"/>
              </a:xfrm>
              <a:custGeom>
                <a:avLst/>
                <a:gdLst>
                  <a:gd name="T0" fmla="*/ 0 w 1563"/>
                  <a:gd name="T1" fmla="*/ 1243 h 1291"/>
                  <a:gd name="T2" fmla="*/ 259 w 1563"/>
                  <a:gd name="T3" fmla="*/ 793 h 1291"/>
                  <a:gd name="T4" fmla="*/ 278 w 1563"/>
                  <a:gd name="T5" fmla="*/ 761 h 1291"/>
                  <a:gd name="T6" fmla="*/ 313 w 1563"/>
                  <a:gd name="T7" fmla="*/ 771 h 1291"/>
                  <a:gd name="T8" fmla="*/ 551 w 1563"/>
                  <a:gd name="T9" fmla="*/ 835 h 1291"/>
                  <a:gd name="T10" fmla="*/ 778 w 1563"/>
                  <a:gd name="T11" fmla="*/ 442 h 1291"/>
                  <a:gd name="T12" fmla="*/ 809 w 1563"/>
                  <a:gd name="T13" fmla="*/ 388 h 1291"/>
                  <a:gd name="T14" fmla="*/ 853 w 1563"/>
                  <a:gd name="T15" fmla="*/ 432 h 1291"/>
                  <a:gd name="T16" fmla="*/ 1050 w 1563"/>
                  <a:gd name="T17" fmla="*/ 629 h 1291"/>
                  <a:gd name="T18" fmla="*/ 1297 w 1563"/>
                  <a:gd name="T19" fmla="*/ 200 h 1291"/>
                  <a:gd name="T20" fmla="*/ 1112 w 1563"/>
                  <a:gd name="T21" fmla="*/ 87 h 1291"/>
                  <a:gd name="T22" fmla="*/ 1476 w 1563"/>
                  <a:gd name="T23" fmla="*/ 0 h 1291"/>
                  <a:gd name="T24" fmla="*/ 1563 w 1563"/>
                  <a:gd name="T25" fmla="*/ 363 h 1291"/>
                  <a:gd name="T26" fmla="*/ 1379 w 1563"/>
                  <a:gd name="T27" fmla="*/ 250 h 1291"/>
                  <a:gd name="T28" fmla="*/ 1102 w 1563"/>
                  <a:gd name="T29" fmla="*/ 731 h 1291"/>
                  <a:gd name="T30" fmla="*/ 1070 w 1563"/>
                  <a:gd name="T31" fmla="*/ 785 h 1291"/>
                  <a:gd name="T32" fmla="*/ 1025 w 1563"/>
                  <a:gd name="T33" fmla="*/ 740 h 1291"/>
                  <a:gd name="T34" fmla="*/ 830 w 1563"/>
                  <a:gd name="T35" fmla="*/ 544 h 1291"/>
                  <a:gd name="T36" fmla="*/ 616 w 1563"/>
                  <a:gd name="T37" fmla="*/ 915 h 1291"/>
                  <a:gd name="T38" fmla="*/ 597 w 1563"/>
                  <a:gd name="T39" fmla="*/ 947 h 1291"/>
                  <a:gd name="T40" fmla="*/ 562 w 1563"/>
                  <a:gd name="T41" fmla="*/ 937 h 1291"/>
                  <a:gd name="T42" fmla="*/ 324 w 1563"/>
                  <a:gd name="T43" fmla="*/ 873 h 1291"/>
                  <a:gd name="T44" fmla="*/ 83 w 1563"/>
                  <a:gd name="T45" fmla="*/ 1291 h 1291"/>
                  <a:gd name="T46" fmla="*/ 0 w 1563"/>
                  <a:gd name="T47" fmla="*/ 1243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3" h="1291">
                    <a:moveTo>
                      <a:pt x="0" y="1243"/>
                    </a:moveTo>
                    <a:lnTo>
                      <a:pt x="259" y="793"/>
                    </a:lnTo>
                    <a:lnTo>
                      <a:pt x="278" y="761"/>
                    </a:lnTo>
                    <a:lnTo>
                      <a:pt x="313" y="771"/>
                    </a:lnTo>
                    <a:lnTo>
                      <a:pt x="551" y="835"/>
                    </a:lnTo>
                    <a:lnTo>
                      <a:pt x="778" y="442"/>
                    </a:lnTo>
                    <a:lnTo>
                      <a:pt x="809" y="388"/>
                    </a:lnTo>
                    <a:lnTo>
                      <a:pt x="853" y="432"/>
                    </a:lnTo>
                    <a:lnTo>
                      <a:pt x="1050" y="629"/>
                    </a:lnTo>
                    <a:lnTo>
                      <a:pt x="1297" y="200"/>
                    </a:lnTo>
                    <a:lnTo>
                      <a:pt x="1112" y="87"/>
                    </a:lnTo>
                    <a:lnTo>
                      <a:pt x="1476" y="0"/>
                    </a:lnTo>
                    <a:lnTo>
                      <a:pt x="1563" y="363"/>
                    </a:lnTo>
                    <a:lnTo>
                      <a:pt x="1379" y="250"/>
                    </a:lnTo>
                    <a:lnTo>
                      <a:pt x="1102" y="731"/>
                    </a:lnTo>
                    <a:lnTo>
                      <a:pt x="1070" y="785"/>
                    </a:lnTo>
                    <a:lnTo>
                      <a:pt x="1025" y="740"/>
                    </a:lnTo>
                    <a:lnTo>
                      <a:pt x="830" y="544"/>
                    </a:lnTo>
                    <a:lnTo>
                      <a:pt x="616" y="915"/>
                    </a:lnTo>
                    <a:lnTo>
                      <a:pt x="597" y="947"/>
                    </a:lnTo>
                    <a:lnTo>
                      <a:pt x="562" y="937"/>
                    </a:lnTo>
                    <a:lnTo>
                      <a:pt x="324" y="873"/>
                    </a:lnTo>
                    <a:lnTo>
                      <a:pt x="83" y="1291"/>
                    </a:lnTo>
                    <a:lnTo>
                      <a:pt x="0" y="124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Oval 12"/>
            <p:cNvSpPr/>
            <p:nvPr/>
          </p:nvSpPr>
          <p:spPr>
            <a:xfrm>
              <a:off x="1564309" y="2424113"/>
              <a:ext cx="939976" cy="939976"/>
            </a:xfrm>
            <a:prstGeom prst="ellipse">
              <a:avLst/>
            </a:prstGeom>
            <a:noFill/>
            <a:ln w="38100" cmpd="thickThin">
              <a:solidFill>
                <a:srgbClr val="2A9B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294784" y="2652713"/>
            <a:ext cx="939976" cy="939976"/>
            <a:chOff x="3294784" y="2424113"/>
            <a:chExt cx="939976" cy="939976"/>
          </a:xfrm>
        </p:grpSpPr>
        <p:grpSp>
          <p:nvGrpSpPr>
            <p:cNvPr id="9" name="Group 8"/>
            <p:cNvGrpSpPr/>
            <p:nvPr/>
          </p:nvGrpSpPr>
          <p:grpSpPr>
            <a:xfrm>
              <a:off x="3360969" y="2490299"/>
              <a:ext cx="807606" cy="807604"/>
              <a:chOff x="7923833" y="2128151"/>
              <a:chExt cx="646434" cy="646432"/>
            </a:xfrm>
          </p:grpSpPr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7923833" y="2128151"/>
                <a:ext cx="646434" cy="646432"/>
              </a:xfrm>
              <a:custGeom>
                <a:avLst/>
                <a:gdLst>
                  <a:gd name="T0" fmla="*/ 3185 w 5780"/>
                  <a:gd name="T1" fmla="*/ 14 h 5780"/>
                  <a:gd name="T2" fmla="*/ 3612 w 5780"/>
                  <a:gd name="T3" fmla="*/ 90 h 5780"/>
                  <a:gd name="T4" fmla="*/ 4015 w 5780"/>
                  <a:gd name="T5" fmla="*/ 227 h 5780"/>
                  <a:gd name="T6" fmla="*/ 4388 w 5780"/>
                  <a:gd name="T7" fmla="*/ 418 h 5780"/>
                  <a:gd name="T8" fmla="*/ 4728 w 5780"/>
                  <a:gd name="T9" fmla="*/ 660 h 5780"/>
                  <a:gd name="T10" fmla="*/ 5030 w 5780"/>
                  <a:gd name="T11" fmla="*/ 947 h 5780"/>
                  <a:gd name="T12" fmla="*/ 5287 w 5780"/>
                  <a:gd name="T13" fmla="*/ 1274 h 5780"/>
                  <a:gd name="T14" fmla="*/ 5495 w 5780"/>
                  <a:gd name="T15" fmla="*/ 1637 h 5780"/>
                  <a:gd name="T16" fmla="*/ 5650 w 5780"/>
                  <a:gd name="T17" fmla="*/ 2030 h 5780"/>
                  <a:gd name="T18" fmla="*/ 5747 w 5780"/>
                  <a:gd name="T19" fmla="*/ 2450 h 5780"/>
                  <a:gd name="T20" fmla="*/ 5780 w 5780"/>
                  <a:gd name="T21" fmla="*/ 2890 h 5780"/>
                  <a:gd name="T22" fmla="*/ 5747 w 5780"/>
                  <a:gd name="T23" fmla="*/ 3330 h 5780"/>
                  <a:gd name="T24" fmla="*/ 5650 w 5780"/>
                  <a:gd name="T25" fmla="*/ 3750 h 5780"/>
                  <a:gd name="T26" fmla="*/ 5495 w 5780"/>
                  <a:gd name="T27" fmla="*/ 4143 h 5780"/>
                  <a:gd name="T28" fmla="*/ 5287 w 5780"/>
                  <a:gd name="T29" fmla="*/ 4506 h 5780"/>
                  <a:gd name="T30" fmla="*/ 5030 w 5780"/>
                  <a:gd name="T31" fmla="*/ 4833 h 5780"/>
                  <a:gd name="T32" fmla="*/ 4728 w 5780"/>
                  <a:gd name="T33" fmla="*/ 5120 h 5780"/>
                  <a:gd name="T34" fmla="*/ 4388 w 5780"/>
                  <a:gd name="T35" fmla="*/ 5362 h 5780"/>
                  <a:gd name="T36" fmla="*/ 4015 w 5780"/>
                  <a:gd name="T37" fmla="*/ 5553 h 5780"/>
                  <a:gd name="T38" fmla="*/ 3612 w 5780"/>
                  <a:gd name="T39" fmla="*/ 5690 h 5780"/>
                  <a:gd name="T40" fmla="*/ 3185 w 5780"/>
                  <a:gd name="T41" fmla="*/ 5766 h 5780"/>
                  <a:gd name="T42" fmla="*/ 2741 w 5780"/>
                  <a:gd name="T43" fmla="*/ 5777 h 5780"/>
                  <a:gd name="T44" fmla="*/ 2307 w 5780"/>
                  <a:gd name="T45" fmla="*/ 5722 h 5780"/>
                  <a:gd name="T46" fmla="*/ 1896 w 5780"/>
                  <a:gd name="T47" fmla="*/ 5605 h 5780"/>
                  <a:gd name="T48" fmla="*/ 1512 w 5780"/>
                  <a:gd name="T49" fmla="*/ 5431 h 5780"/>
                  <a:gd name="T50" fmla="*/ 1160 w 5780"/>
                  <a:gd name="T51" fmla="*/ 5206 h 5780"/>
                  <a:gd name="T52" fmla="*/ 847 w 5780"/>
                  <a:gd name="T53" fmla="*/ 4933 h 5780"/>
                  <a:gd name="T54" fmla="*/ 574 w 5780"/>
                  <a:gd name="T55" fmla="*/ 4619 h 5780"/>
                  <a:gd name="T56" fmla="*/ 349 w 5780"/>
                  <a:gd name="T57" fmla="*/ 4268 h 5780"/>
                  <a:gd name="T58" fmla="*/ 175 w 5780"/>
                  <a:gd name="T59" fmla="*/ 3884 h 5780"/>
                  <a:gd name="T60" fmla="*/ 58 w 5780"/>
                  <a:gd name="T61" fmla="*/ 3473 h 5780"/>
                  <a:gd name="T62" fmla="*/ 3 w 5780"/>
                  <a:gd name="T63" fmla="*/ 3039 h 5780"/>
                  <a:gd name="T64" fmla="*/ 14 w 5780"/>
                  <a:gd name="T65" fmla="*/ 2594 h 5780"/>
                  <a:gd name="T66" fmla="*/ 90 w 5780"/>
                  <a:gd name="T67" fmla="*/ 2168 h 5780"/>
                  <a:gd name="T68" fmla="*/ 227 w 5780"/>
                  <a:gd name="T69" fmla="*/ 1765 h 5780"/>
                  <a:gd name="T70" fmla="*/ 418 w 5780"/>
                  <a:gd name="T71" fmla="*/ 1391 h 5780"/>
                  <a:gd name="T72" fmla="*/ 660 w 5780"/>
                  <a:gd name="T73" fmla="*/ 1052 h 5780"/>
                  <a:gd name="T74" fmla="*/ 947 w 5780"/>
                  <a:gd name="T75" fmla="*/ 750 h 5780"/>
                  <a:gd name="T76" fmla="*/ 1274 w 5780"/>
                  <a:gd name="T77" fmla="*/ 493 h 5780"/>
                  <a:gd name="T78" fmla="*/ 1637 w 5780"/>
                  <a:gd name="T79" fmla="*/ 285 h 5780"/>
                  <a:gd name="T80" fmla="*/ 2030 w 5780"/>
                  <a:gd name="T81" fmla="*/ 130 h 5780"/>
                  <a:gd name="T82" fmla="*/ 2450 w 5780"/>
                  <a:gd name="T83" fmla="*/ 33 h 5780"/>
                  <a:gd name="T84" fmla="*/ 2890 w 5780"/>
                  <a:gd name="T85" fmla="*/ 0 h 5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80" h="5780">
                    <a:moveTo>
                      <a:pt x="2890" y="0"/>
                    </a:moveTo>
                    <a:lnTo>
                      <a:pt x="3039" y="3"/>
                    </a:lnTo>
                    <a:lnTo>
                      <a:pt x="3185" y="14"/>
                    </a:lnTo>
                    <a:lnTo>
                      <a:pt x="3331" y="33"/>
                    </a:lnTo>
                    <a:lnTo>
                      <a:pt x="3472" y="58"/>
                    </a:lnTo>
                    <a:lnTo>
                      <a:pt x="3612" y="90"/>
                    </a:lnTo>
                    <a:lnTo>
                      <a:pt x="3749" y="130"/>
                    </a:lnTo>
                    <a:lnTo>
                      <a:pt x="3884" y="175"/>
                    </a:lnTo>
                    <a:lnTo>
                      <a:pt x="4015" y="227"/>
                    </a:lnTo>
                    <a:lnTo>
                      <a:pt x="4143" y="285"/>
                    </a:lnTo>
                    <a:lnTo>
                      <a:pt x="4268" y="349"/>
                    </a:lnTo>
                    <a:lnTo>
                      <a:pt x="4388" y="418"/>
                    </a:lnTo>
                    <a:lnTo>
                      <a:pt x="4506" y="493"/>
                    </a:lnTo>
                    <a:lnTo>
                      <a:pt x="4619" y="574"/>
                    </a:lnTo>
                    <a:lnTo>
                      <a:pt x="4728" y="660"/>
                    </a:lnTo>
                    <a:lnTo>
                      <a:pt x="4833" y="750"/>
                    </a:lnTo>
                    <a:lnTo>
                      <a:pt x="4934" y="847"/>
                    </a:lnTo>
                    <a:lnTo>
                      <a:pt x="5030" y="947"/>
                    </a:lnTo>
                    <a:lnTo>
                      <a:pt x="5120" y="1052"/>
                    </a:lnTo>
                    <a:lnTo>
                      <a:pt x="5206" y="1161"/>
                    </a:lnTo>
                    <a:lnTo>
                      <a:pt x="5287" y="1274"/>
                    </a:lnTo>
                    <a:lnTo>
                      <a:pt x="5362" y="1391"/>
                    </a:lnTo>
                    <a:lnTo>
                      <a:pt x="5431" y="1512"/>
                    </a:lnTo>
                    <a:lnTo>
                      <a:pt x="5495" y="1637"/>
                    </a:lnTo>
                    <a:lnTo>
                      <a:pt x="5553" y="1765"/>
                    </a:lnTo>
                    <a:lnTo>
                      <a:pt x="5605" y="1896"/>
                    </a:lnTo>
                    <a:lnTo>
                      <a:pt x="5650" y="2030"/>
                    </a:lnTo>
                    <a:lnTo>
                      <a:pt x="5689" y="2168"/>
                    </a:lnTo>
                    <a:lnTo>
                      <a:pt x="5722" y="2307"/>
                    </a:lnTo>
                    <a:lnTo>
                      <a:pt x="5747" y="2450"/>
                    </a:lnTo>
                    <a:lnTo>
                      <a:pt x="5765" y="2594"/>
                    </a:lnTo>
                    <a:lnTo>
                      <a:pt x="5776" y="2741"/>
                    </a:lnTo>
                    <a:lnTo>
                      <a:pt x="5780" y="2890"/>
                    </a:lnTo>
                    <a:lnTo>
                      <a:pt x="5776" y="3039"/>
                    </a:lnTo>
                    <a:lnTo>
                      <a:pt x="5765" y="3186"/>
                    </a:lnTo>
                    <a:lnTo>
                      <a:pt x="5747" y="3330"/>
                    </a:lnTo>
                    <a:lnTo>
                      <a:pt x="5722" y="3473"/>
                    </a:lnTo>
                    <a:lnTo>
                      <a:pt x="5689" y="3612"/>
                    </a:lnTo>
                    <a:lnTo>
                      <a:pt x="5650" y="3750"/>
                    </a:lnTo>
                    <a:lnTo>
                      <a:pt x="5605" y="3884"/>
                    </a:lnTo>
                    <a:lnTo>
                      <a:pt x="5553" y="4015"/>
                    </a:lnTo>
                    <a:lnTo>
                      <a:pt x="5495" y="4143"/>
                    </a:lnTo>
                    <a:lnTo>
                      <a:pt x="5431" y="4268"/>
                    </a:lnTo>
                    <a:lnTo>
                      <a:pt x="5362" y="4389"/>
                    </a:lnTo>
                    <a:lnTo>
                      <a:pt x="5287" y="4506"/>
                    </a:lnTo>
                    <a:lnTo>
                      <a:pt x="5206" y="4619"/>
                    </a:lnTo>
                    <a:lnTo>
                      <a:pt x="5120" y="4728"/>
                    </a:lnTo>
                    <a:lnTo>
                      <a:pt x="5030" y="4833"/>
                    </a:lnTo>
                    <a:lnTo>
                      <a:pt x="4934" y="4933"/>
                    </a:lnTo>
                    <a:lnTo>
                      <a:pt x="4833" y="5030"/>
                    </a:lnTo>
                    <a:lnTo>
                      <a:pt x="4728" y="5120"/>
                    </a:lnTo>
                    <a:lnTo>
                      <a:pt x="4619" y="5206"/>
                    </a:lnTo>
                    <a:lnTo>
                      <a:pt x="4506" y="5287"/>
                    </a:lnTo>
                    <a:lnTo>
                      <a:pt x="4388" y="5362"/>
                    </a:lnTo>
                    <a:lnTo>
                      <a:pt x="4268" y="5431"/>
                    </a:lnTo>
                    <a:lnTo>
                      <a:pt x="4143" y="5495"/>
                    </a:lnTo>
                    <a:lnTo>
                      <a:pt x="4015" y="5553"/>
                    </a:lnTo>
                    <a:lnTo>
                      <a:pt x="3884" y="5605"/>
                    </a:lnTo>
                    <a:lnTo>
                      <a:pt x="3749" y="5650"/>
                    </a:lnTo>
                    <a:lnTo>
                      <a:pt x="3612" y="5690"/>
                    </a:lnTo>
                    <a:lnTo>
                      <a:pt x="3472" y="5722"/>
                    </a:lnTo>
                    <a:lnTo>
                      <a:pt x="3331" y="5747"/>
                    </a:lnTo>
                    <a:lnTo>
                      <a:pt x="3185" y="5766"/>
                    </a:lnTo>
                    <a:lnTo>
                      <a:pt x="3039" y="5777"/>
                    </a:lnTo>
                    <a:lnTo>
                      <a:pt x="2890" y="5780"/>
                    </a:lnTo>
                    <a:lnTo>
                      <a:pt x="2741" y="5777"/>
                    </a:lnTo>
                    <a:lnTo>
                      <a:pt x="2594" y="5766"/>
                    </a:lnTo>
                    <a:lnTo>
                      <a:pt x="2450" y="5747"/>
                    </a:lnTo>
                    <a:lnTo>
                      <a:pt x="2307" y="5722"/>
                    </a:lnTo>
                    <a:lnTo>
                      <a:pt x="2168" y="5690"/>
                    </a:lnTo>
                    <a:lnTo>
                      <a:pt x="2030" y="5650"/>
                    </a:lnTo>
                    <a:lnTo>
                      <a:pt x="1896" y="5605"/>
                    </a:lnTo>
                    <a:lnTo>
                      <a:pt x="1765" y="5553"/>
                    </a:lnTo>
                    <a:lnTo>
                      <a:pt x="1637" y="5495"/>
                    </a:lnTo>
                    <a:lnTo>
                      <a:pt x="1512" y="5431"/>
                    </a:lnTo>
                    <a:lnTo>
                      <a:pt x="1391" y="5362"/>
                    </a:lnTo>
                    <a:lnTo>
                      <a:pt x="1274" y="5287"/>
                    </a:lnTo>
                    <a:lnTo>
                      <a:pt x="1160" y="5206"/>
                    </a:lnTo>
                    <a:lnTo>
                      <a:pt x="1052" y="5120"/>
                    </a:lnTo>
                    <a:lnTo>
                      <a:pt x="947" y="5030"/>
                    </a:lnTo>
                    <a:lnTo>
                      <a:pt x="847" y="4933"/>
                    </a:lnTo>
                    <a:lnTo>
                      <a:pt x="750" y="4833"/>
                    </a:lnTo>
                    <a:lnTo>
                      <a:pt x="660" y="4728"/>
                    </a:lnTo>
                    <a:lnTo>
                      <a:pt x="574" y="4619"/>
                    </a:lnTo>
                    <a:lnTo>
                      <a:pt x="493" y="4506"/>
                    </a:lnTo>
                    <a:lnTo>
                      <a:pt x="418" y="4389"/>
                    </a:lnTo>
                    <a:lnTo>
                      <a:pt x="349" y="4268"/>
                    </a:lnTo>
                    <a:lnTo>
                      <a:pt x="285" y="4143"/>
                    </a:lnTo>
                    <a:lnTo>
                      <a:pt x="227" y="4015"/>
                    </a:lnTo>
                    <a:lnTo>
                      <a:pt x="175" y="3884"/>
                    </a:lnTo>
                    <a:lnTo>
                      <a:pt x="129" y="3750"/>
                    </a:lnTo>
                    <a:lnTo>
                      <a:pt x="90" y="3612"/>
                    </a:lnTo>
                    <a:lnTo>
                      <a:pt x="58" y="3473"/>
                    </a:lnTo>
                    <a:lnTo>
                      <a:pt x="33" y="3330"/>
                    </a:lnTo>
                    <a:lnTo>
                      <a:pt x="14" y="3186"/>
                    </a:lnTo>
                    <a:lnTo>
                      <a:pt x="3" y="3039"/>
                    </a:lnTo>
                    <a:lnTo>
                      <a:pt x="0" y="2890"/>
                    </a:lnTo>
                    <a:lnTo>
                      <a:pt x="3" y="2741"/>
                    </a:lnTo>
                    <a:lnTo>
                      <a:pt x="14" y="2594"/>
                    </a:lnTo>
                    <a:lnTo>
                      <a:pt x="33" y="2450"/>
                    </a:lnTo>
                    <a:lnTo>
                      <a:pt x="58" y="2307"/>
                    </a:lnTo>
                    <a:lnTo>
                      <a:pt x="90" y="2168"/>
                    </a:lnTo>
                    <a:lnTo>
                      <a:pt x="129" y="2030"/>
                    </a:lnTo>
                    <a:lnTo>
                      <a:pt x="175" y="1896"/>
                    </a:lnTo>
                    <a:lnTo>
                      <a:pt x="227" y="1765"/>
                    </a:lnTo>
                    <a:lnTo>
                      <a:pt x="285" y="1637"/>
                    </a:lnTo>
                    <a:lnTo>
                      <a:pt x="349" y="1512"/>
                    </a:lnTo>
                    <a:lnTo>
                      <a:pt x="418" y="1391"/>
                    </a:lnTo>
                    <a:lnTo>
                      <a:pt x="493" y="1274"/>
                    </a:lnTo>
                    <a:lnTo>
                      <a:pt x="574" y="1161"/>
                    </a:lnTo>
                    <a:lnTo>
                      <a:pt x="660" y="1052"/>
                    </a:lnTo>
                    <a:lnTo>
                      <a:pt x="750" y="947"/>
                    </a:lnTo>
                    <a:lnTo>
                      <a:pt x="847" y="847"/>
                    </a:lnTo>
                    <a:lnTo>
                      <a:pt x="947" y="750"/>
                    </a:lnTo>
                    <a:lnTo>
                      <a:pt x="1052" y="660"/>
                    </a:lnTo>
                    <a:lnTo>
                      <a:pt x="1160" y="574"/>
                    </a:lnTo>
                    <a:lnTo>
                      <a:pt x="1274" y="493"/>
                    </a:lnTo>
                    <a:lnTo>
                      <a:pt x="1391" y="418"/>
                    </a:lnTo>
                    <a:lnTo>
                      <a:pt x="1512" y="349"/>
                    </a:lnTo>
                    <a:lnTo>
                      <a:pt x="1637" y="285"/>
                    </a:lnTo>
                    <a:lnTo>
                      <a:pt x="1765" y="227"/>
                    </a:lnTo>
                    <a:lnTo>
                      <a:pt x="1896" y="175"/>
                    </a:lnTo>
                    <a:lnTo>
                      <a:pt x="2030" y="130"/>
                    </a:lnTo>
                    <a:lnTo>
                      <a:pt x="2168" y="90"/>
                    </a:lnTo>
                    <a:lnTo>
                      <a:pt x="2307" y="58"/>
                    </a:lnTo>
                    <a:lnTo>
                      <a:pt x="2450" y="33"/>
                    </a:lnTo>
                    <a:lnTo>
                      <a:pt x="2594" y="14"/>
                    </a:lnTo>
                    <a:lnTo>
                      <a:pt x="2741" y="3"/>
                    </a:lnTo>
                    <a:lnTo>
                      <a:pt x="2890" y="0"/>
                    </a:lnTo>
                    <a:close/>
                  </a:path>
                </a:pathLst>
              </a:custGeom>
              <a:solidFill>
                <a:srgbClr val="0D65AC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31" name="Freeform 11"/>
              <p:cNvSpPr>
                <a:spLocks/>
              </p:cNvSpPr>
              <p:nvPr/>
            </p:nvSpPr>
            <p:spPr bwMode="auto">
              <a:xfrm>
                <a:off x="8039361" y="2278956"/>
                <a:ext cx="398202" cy="328948"/>
              </a:xfrm>
              <a:custGeom>
                <a:avLst/>
                <a:gdLst>
                  <a:gd name="T0" fmla="*/ 0 w 1563"/>
                  <a:gd name="T1" fmla="*/ 47 h 1291"/>
                  <a:gd name="T2" fmla="*/ 259 w 1563"/>
                  <a:gd name="T3" fmla="*/ 497 h 1291"/>
                  <a:gd name="T4" fmla="*/ 278 w 1563"/>
                  <a:gd name="T5" fmla="*/ 529 h 1291"/>
                  <a:gd name="T6" fmla="*/ 313 w 1563"/>
                  <a:gd name="T7" fmla="*/ 520 h 1291"/>
                  <a:gd name="T8" fmla="*/ 551 w 1563"/>
                  <a:gd name="T9" fmla="*/ 456 h 1291"/>
                  <a:gd name="T10" fmla="*/ 778 w 1563"/>
                  <a:gd name="T11" fmla="*/ 849 h 1291"/>
                  <a:gd name="T12" fmla="*/ 809 w 1563"/>
                  <a:gd name="T13" fmla="*/ 903 h 1291"/>
                  <a:gd name="T14" fmla="*/ 853 w 1563"/>
                  <a:gd name="T15" fmla="*/ 859 h 1291"/>
                  <a:gd name="T16" fmla="*/ 1049 w 1563"/>
                  <a:gd name="T17" fmla="*/ 662 h 1291"/>
                  <a:gd name="T18" fmla="*/ 1296 w 1563"/>
                  <a:gd name="T19" fmla="*/ 1090 h 1291"/>
                  <a:gd name="T20" fmla="*/ 1112 w 1563"/>
                  <a:gd name="T21" fmla="*/ 1204 h 1291"/>
                  <a:gd name="T22" fmla="*/ 1476 w 1563"/>
                  <a:gd name="T23" fmla="*/ 1291 h 1291"/>
                  <a:gd name="T24" fmla="*/ 1563 w 1563"/>
                  <a:gd name="T25" fmla="*/ 927 h 1291"/>
                  <a:gd name="T26" fmla="*/ 1378 w 1563"/>
                  <a:gd name="T27" fmla="*/ 1041 h 1291"/>
                  <a:gd name="T28" fmla="*/ 1101 w 1563"/>
                  <a:gd name="T29" fmla="*/ 561 h 1291"/>
                  <a:gd name="T30" fmla="*/ 1070 w 1563"/>
                  <a:gd name="T31" fmla="*/ 506 h 1291"/>
                  <a:gd name="T32" fmla="*/ 1025 w 1563"/>
                  <a:gd name="T33" fmla="*/ 551 h 1291"/>
                  <a:gd name="T34" fmla="*/ 829 w 1563"/>
                  <a:gd name="T35" fmla="*/ 746 h 1291"/>
                  <a:gd name="T36" fmla="*/ 616 w 1563"/>
                  <a:gd name="T37" fmla="*/ 376 h 1291"/>
                  <a:gd name="T38" fmla="*/ 597 w 1563"/>
                  <a:gd name="T39" fmla="*/ 344 h 1291"/>
                  <a:gd name="T40" fmla="*/ 562 w 1563"/>
                  <a:gd name="T41" fmla="*/ 353 h 1291"/>
                  <a:gd name="T42" fmla="*/ 323 w 1563"/>
                  <a:gd name="T43" fmla="*/ 417 h 1291"/>
                  <a:gd name="T44" fmla="*/ 83 w 1563"/>
                  <a:gd name="T45" fmla="*/ 0 h 1291"/>
                  <a:gd name="T46" fmla="*/ 0 w 1563"/>
                  <a:gd name="T47" fmla="*/ 47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3" h="1291">
                    <a:moveTo>
                      <a:pt x="0" y="47"/>
                    </a:moveTo>
                    <a:lnTo>
                      <a:pt x="259" y="497"/>
                    </a:lnTo>
                    <a:lnTo>
                      <a:pt x="278" y="529"/>
                    </a:lnTo>
                    <a:lnTo>
                      <a:pt x="313" y="520"/>
                    </a:lnTo>
                    <a:lnTo>
                      <a:pt x="551" y="456"/>
                    </a:lnTo>
                    <a:lnTo>
                      <a:pt x="778" y="849"/>
                    </a:lnTo>
                    <a:lnTo>
                      <a:pt x="809" y="903"/>
                    </a:lnTo>
                    <a:lnTo>
                      <a:pt x="853" y="859"/>
                    </a:lnTo>
                    <a:lnTo>
                      <a:pt x="1049" y="662"/>
                    </a:lnTo>
                    <a:lnTo>
                      <a:pt x="1296" y="1090"/>
                    </a:lnTo>
                    <a:lnTo>
                      <a:pt x="1112" y="1204"/>
                    </a:lnTo>
                    <a:lnTo>
                      <a:pt x="1476" y="1291"/>
                    </a:lnTo>
                    <a:lnTo>
                      <a:pt x="1563" y="927"/>
                    </a:lnTo>
                    <a:lnTo>
                      <a:pt x="1378" y="1041"/>
                    </a:lnTo>
                    <a:lnTo>
                      <a:pt x="1101" y="561"/>
                    </a:lnTo>
                    <a:lnTo>
                      <a:pt x="1070" y="506"/>
                    </a:lnTo>
                    <a:lnTo>
                      <a:pt x="1025" y="551"/>
                    </a:lnTo>
                    <a:lnTo>
                      <a:pt x="829" y="746"/>
                    </a:lnTo>
                    <a:lnTo>
                      <a:pt x="616" y="376"/>
                    </a:lnTo>
                    <a:lnTo>
                      <a:pt x="597" y="344"/>
                    </a:lnTo>
                    <a:lnTo>
                      <a:pt x="562" y="353"/>
                    </a:lnTo>
                    <a:lnTo>
                      <a:pt x="323" y="417"/>
                    </a:lnTo>
                    <a:lnTo>
                      <a:pt x="83" y="0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9" name="Oval 38"/>
            <p:cNvSpPr/>
            <p:nvPr/>
          </p:nvSpPr>
          <p:spPr>
            <a:xfrm>
              <a:off x="3294784" y="2424113"/>
              <a:ext cx="939976" cy="939976"/>
            </a:xfrm>
            <a:prstGeom prst="ellipse">
              <a:avLst/>
            </a:prstGeom>
            <a:noFill/>
            <a:ln w="38100" cmpd="thickThin"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755734" y="2652713"/>
            <a:ext cx="939976" cy="939976"/>
            <a:chOff x="5025259" y="2424113"/>
            <a:chExt cx="939976" cy="939976"/>
          </a:xfrm>
        </p:grpSpPr>
        <p:grpSp>
          <p:nvGrpSpPr>
            <p:cNvPr id="11" name="Group 10"/>
            <p:cNvGrpSpPr/>
            <p:nvPr/>
          </p:nvGrpSpPr>
          <p:grpSpPr>
            <a:xfrm>
              <a:off x="5091444" y="2490299"/>
              <a:ext cx="807606" cy="807604"/>
              <a:chOff x="641954" y="4705701"/>
              <a:chExt cx="646434" cy="646432"/>
            </a:xfrm>
          </p:grpSpPr>
          <p:sp>
            <p:nvSpPr>
              <p:cNvPr id="29" name="Freeform 7"/>
              <p:cNvSpPr>
                <a:spLocks/>
              </p:cNvSpPr>
              <p:nvPr/>
            </p:nvSpPr>
            <p:spPr bwMode="auto">
              <a:xfrm>
                <a:off x="641954" y="4705701"/>
                <a:ext cx="646434" cy="646432"/>
              </a:xfrm>
              <a:custGeom>
                <a:avLst/>
                <a:gdLst>
                  <a:gd name="T0" fmla="*/ 3185 w 5780"/>
                  <a:gd name="T1" fmla="*/ 14 h 5780"/>
                  <a:gd name="T2" fmla="*/ 3612 w 5780"/>
                  <a:gd name="T3" fmla="*/ 90 h 5780"/>
                  <a:gd name="T4" fmla="*/ 4015 w 5780"/>
                  <a:gd name="T5" fmla="*/ 227 h 5780"/>
                  <a:gd name="T6" fmla="*/ 4388 w 5780"/>
                  <a:gd name="T7" fmla="*/ 418 h 5780"/>
                  <a:gd name="T8" fmla="*/ 4728 w 5780"/>
                  <a:gd name="T9" fmla="*/ 660 h 5780"/>
                  <a:gd name="T10" fmla="*/ 5030 w 5780"/>
                  <a:gd name="T11" fmla="*/ 947 h 5780"/>
                  <a:gd name="T12" fmla="*/ 5287 w 5780"/>
                  <a:gd name="T13" fmla="*/ 1274 h 5780"/>
                  <a:gd name="T14" fmla="*/ 5495 w 5780"/>
                  <a:gd name="T15" fmla="*/ 1637 h 5780"/>
                  <a:gd name="T16" fmla="*/ 5650 w 5780"/>
                  <a:gd name="T17" fmla="*/ 2030 h 5780"/>
                  <a:gd name="T18" fmla="*/ 5747 w 5780"/>
                  <a:gd name="T19" fmla="*/ 2450 h 5780"/>
                  <a:gd name="T20" fmla="*/ 5780 w 5780"/>
                  <a:gd name="T21" fmla="*/ 2890 h 5780"/>
                  <a:gd name="T22" fmla="*/ 5747 w 5780"/>
                  <a:gd name="T23" fmla="*/ 3330 h 5780"/>
                  <a:gd name="T24" fmla="*/ 5650 w 5780"/>
                  <a:gd name="T25" fmla="*/ 3750 h 5780"/>
                  <a:gd name="T26" fmla="*/ 5495 w 5780"/>
                  <a:gd name="T27" fmla="*/ 4143 h 5780"/>
                  <a:gd name="T28" fmla="*/ 5287 w 5780"/>
                  <a:gd name="T29" fmla="*/ 4506 h 5780"/>
                  <a:gd name="T30" fmla="*/ 5030 w 5780"/>
                  <a:gd name="T31" fmla="*/ 4833 h 5780"/>
                  <a:gd name="T32" fmla="*/ 4728 w 5780"/>
                  <a:gd name="T33" fmla="*/ 5120 h 5780"/>
                  <a:gd name="T34" fmla="*/ 4388 w 5780"/>
                  <a:gd name="T35" fmla="*/ 5362 h 5780"/>
                  <a:gd name="T36" fmla="*/ 4015 w 5780"/>
                  <a:gd name="T37" fmla="*/ 5553 h 5780"/>
                  <a:gd name="T38" fmla="*/ 3612 w 5780"/>
                  <a:gd name="T39" fmla="*/ 5690 h 5780"/>
                  <a:gd name="T40" fmla="*/ 3185 w 5780"/>
                  <a:gd name="T41" fmla="*/ 5766 h 5780"/>
                  <a:gd name="T42" fmla="*/ 2741 w 5780"/>
                  <a:gd name="T43" fmla="*/ 5777 h 5780"/>
                  <a:gd name="T44" fmla="*/ 2307 w 5780"/>
                  <a:gd name="T45" fmla="*/ 5722 h 5780"/>
                  <a:gd name="T46" fmla="*/ 1896 w 5780"/>
                  <a:gd name="T47" fmla="*/ 5605 h 5780"/>
                  <a:gd name="T48" fmla="*/ 1512 w 5780"/>
                  <a:gd name="T49" fmla="*/ 5431 h 5780"/>
                  <a:gd name="T50" fmla="*/ 1160 w 5780"/>
                  <a:gd name="T51" fmla="*/ 5206 h 5780"/>
                  <a:gd name="T52" fmla="*/ 847 w 5780"/>
                  <a:gd name="T53" fmla="*/ 4933 h 5780"/>
                  <a:gd name="T54" fmla="*/ 574 w 5780"/>
                  <a:gd name="T55" fmla="*/ 4619 h 5780"/>
                  <a:gd name="T56" fmla="*/ 349 w 5780"/>
                  <a:gd name="T57" fmla="*/ 4268 h 5780"/>
                  <a:gd name="T58" fmla="*/ 175 w 5780"/>
                  <a:gd name="T59" fmla="*/ 3884 h 5780"/>
                  <a:gd name="T60" fmla="*/ 58 w 5780"/>
                  <a:gd name="T61" fmla="*/ 3473 h 5780"/>
                  <a:gd name="T62" fmla="*/ 3 w 5780"/>
                  <a:gd name="T63" fmla="*/ 3039 h 5780"/>
                  <a:gd name="T64" fmla="*/ 14 w 5780"/>
                  <a:gd name="T65" fmla="*/ 2594 h 5780"/>
                  <a:gd name="T66" fmla="*/ 90 w 5780"/>
                  <a:gd name="T67" fmla="*/ 2168 h 5780"/>
                  <a:gd name="T68" fmla="*/ 227 w 5780"/>
                  <a:gd name="T69" fmla="*/ 1765 h 5780"/>
                  <a:gd name="T70" fmla="*/ 418 w 5780"/>
                  <a:gd name="T71" fmla="*/ 1391 h 5780"/>
                  <a:gd name="T72" fmla="*/ 660 w 5780"/>
                  <a:gd name="T73" fmla="*/ 1052 h 5780"/>
                  <a:gd name="T74" fmla="*/ 947 w 5780"/>
                  <a:gd name="T75" fmla="*/ 750 h 5780"/>
                  <a:gd name="T76" fmla="*/ 1274 w 5780"/>
                  <a:gd name="T77" fmla="*/ 493 h 5780"/>
                  <a:gd name="T78" fmla="*/ 1637 w 5780"/>
                  <a:gd name="T79" fmla="*/ 285 h 5780"/>
                  <a:gd name="T80" fmla="*/ 2030 w 5780"/>
                  <a:gd name="T81" fmla="*/ 130 h 5780"/>
                  <a:gd name="T82" fmla="*/ 2450 w 5780"/>
                  <a:gd name="T83" fmla="*/ 33 h 5780"/>
                  <a:gd name="T84" fmla="*/ 2890 w 5780"/>
                  <a:gd name="T85" fmla="*/ 0 h 5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80" h="5780">
                    <a:moveTo>
                      <a:pt x="2890" y="0"/>
                    </a:moveTo>
                    <a:lnTo>
                      <a:pt x="3039" y="3"/>
                    </a:lnTo>
                    <a:lnTo>
                      <a:pt x="3185" y="14"/>
                    </a:lnTo>
                    <a:lnTo>
                      <a:pt x="3331" y="33"/>
                    </a:lnTo>
                    <a:lnTo>
                      <a:pt x="3472" y="58"/>
                    </a:lnTo>
                    <a:lnTo>
                      <a:pt x="3612" y="90"/>
                    </a:lnTo>
                    <a:lnTo>
                      <a:pt x="3749" y="130"/>
                    </a:lnTo>
                    <a:lnTo>
                      <a:pt x="3884" y="175"/>
                    </a:lnTo>
                    <a:lnTo>
                      <a:pt x="4015" y="227"/>
                    </a:lnTo>
                    <a:lnTo>
                      <a:pt x="4143" y="285"/>
                    </a:lnTo>
                    <a:lnTo>
                      <a:pt x="4268" y="349"/>
                    </a:lnTo>
                    <a:lnTo>
                      <a:pt x="4388" y="418"/>
                    </a:lnTo>
                    <a:lnTo>
                      <a:pt x="4506" y="493"/>
                    </a:lnTo>
                    <a:lnTo>
                      <a:pt x="4619" y="574"/>
                    </a:lnTo>
                    <a:lnTo>
                      <a:pt x="4728" y="660"/>
                    </a:lnTo>
                    <a:lnTo>
                      <a:pt x="4833" y="750"/>
                    </a:lnTo>
                    <a:lnTo>
                      <a:pt x="4934" y="847"/>
                    </a:lnTo>
                    <a:lnTo>
                      <a:pt x="5030" y="947"/>
                    </a:lnTo>
                    <a:lnTo>
                      <a:pt x="5120" y="1052"/>
                    </a:lnTo>
                    <a:lnTo>
                      <a:pt x="5206" y="1161"/>
                    </a:lnTo>
                    <a:lnTo>
                      <a:pt x="5287" y="1274"/>
                    </a:lnTo>
                    <a:lnTo>
                      <a:pt x="5362" y="1391"/>
                    </a:lnTo>
                    <a:lnTo>
                      <a:pt x="5431" y="1512"/>
                    </a:lnTo>
                    <a:lnTo>
                      <a:pt x="5495" y="1637"/>
                    </a:lnTo>
                    <a:lnTo>
                      <a:pt x="5553" y="1765"/>
                    </a:lnTo>
                    <a:lnTo>
                      <a:pt x="5605" y="1896"/>
                    </a:lnTo>
                    <a:lnTo>
                      <a:pt x="5650" y="2030"/>
                    </a:lnTo>
                    <a:lnTo>
                      <a:pt x="5689" y="2168"/>
                    </a:lnTo>
                    <a:lnTo>
                      <a:pt x="5722" y="2307"/>
                    </a:lnTo>
                    <a:lnTo>
                      <a:pt x="5747" y="2450"/>
                    </a:lnTo>
                    <a:lnTo>
                      <a:pt x="5765" y="2594"/>
                    </a:lnTo>
                    <a:lnTo>
                      <a:pt x="5776" y="2741"/>
                    </a:lnTo>
                    <a:lnTo>
                      <a:pt x="5780" y="2890"/>
                    </a:lnTo>
                    <a:lnTo>
                      <a:pt x="5776" y="3039"/>
                    </a:lnTo>
                    <a:lnTo>
                      <a:pt x="5765" y="3186"/>
                    </a:lnTo>
                    <a:lnTo>
                      <a:pt x="5747" y="3330"/>
                    </a:lnTo>
                    <a:lnTo>
                      <a:pt x="5722" y="3473"/>
                    </a:lnTo>
                    <a:lnTo>
                      <a:pt x="5689" y="3612"/>
                    </a:lnTo>
                    <a:lnTo>
                      <a:pt x="5650" y="3750"/>
                    </a:lnTo>
                    <a:lnTo>
                      <a:pt x="5605" y="3884"/>
                    </a:lnTo>
                    <a:lnTo>
                      <a:pt x="5553" y="4015"/>
                    </a:lnTo>
                    <a:lnTo>
                      <a:pt x="5495" y="4143"/>
                    </a:lnTo>
                    <a:lnTo>
                      <a:pt x="5431" y="4268"/>
                    </a:lnTo>
                    <a:lnTo>
                      <a:pt x="5362" y="4389"/>
                    </a:lnTo>
                    <a:lnTo>
                      <a:pt x="5287" y="4506"/>
                    </a:lnTo>
                    <a:lnTo>
                      <a:pt x="5206" y="4619"/>
                    </a:lnTo>
                    <a:lnTo>
                      <a:pt x="5120" y="4728"/>
                    </a:lnTo>
                    <a:lnTo>
                      <a:pt x="5030" y="4833"/>
                    </a:lnTo>
                    <a:lnTo>
                      <a:pt x="4934" y="4933"/>
                    </a:lnTo>
                    <a:lnTo>
                      <a:pt x="4833" y="5030"/>
                    </a:lnTo>
                    <a:lnTo>
                      <a:pt x="4728" y="5120"/>
                    </a:lnTo>
                    <a:lnTo>
                      <a:pt x="4619" y="5206"/>
                    </a:lnTo>
                    <a:lnTo>
                      <a:pt x="4506" y="5287"/>
                    </a:lnTo>
                    <a:lnTo>
                      <a:pt x="4388" y="5362"/>
                    </a:lnTo>
                    <a:lnTo>
                      <a:pt x="4268" y="5431"/>
                    </a:lnTo>
                    <a:lnTo>
                      <a:pt x="4143" y="5495"/>
                    </a:lnTo>
                    <a:lnTo>
                      <a:pt x="4015" y="5553"/>
                    </a:lnTo>
                    <a:lnTo>
                      <a:pt x="3884" y="5605"/>
                    </a:lnTo>
                    <a:lnTo>
                      <a:pt x="3749" y="5650"/>
                    </a:lnTo>
                    <a:lnTo>
                      <a:pt x="3612" y="5690"/>
                    </a:lnTo>
                    <a:lnTo>
                      <a:pt x="3472" y="5722"/>
                    </a:lnTo>
                    <a:lnTo>
                      <a:pt x="3331" y="5747"/>
                    </a:lnTo>
                    <a:lnTo>
                      <a:pt x="3185" y="5766"/>
                    </a:lnTo>
                    <a:lnTo>
                      <a:pt x="3039" y="5777"/>
                    </a:lnTo>
                    <a:lnTo>
                      <a:pt x="2890" y="5780"/>
                    </a:lnTo>
                    <a:lnTo>
                      <a:pt x="2741" y="5777"/>
                    </a:lnTo>
                    <a:lnTo>
                      <a:pt x="2594" y="5766"/>
                    </a:lnTo>
                    <a:lnTo>
                      <a:pt x="2450" y="5747"/>
                    </a:lnTo>
                    <a:lnTo>
                      <a:pt x="2307" y="5722"/>
                    </a:lnTo>
                    <a:lnTo>
                      <a:pt x="2168" y="5690"/>
                    </a:lnTo>
                    <a:lnTo>
                      <a:pt x="2030" y="5650"/>
                    </a:lnTo>
                    <a:lnTo>
                      <a:pt x="1896" y="5605"/>
                    </a:lnTo>
                    <a:lnTo>
                      <a:pt x="1765" y="5553"/>
                    </a:lnTo>
                    <a:lnTo>
                      <a:pt x="1637" y="5495"/>
                    </a:lnTo>
                    <a:lnTo>
                      <a:pt x="1512" y="5431"/>
                    </a:lnTo>
                    <a:lnTo>
                      <a:pt x="1391" y="5362"/>
                    </a:lnTo>
                    <a:lnTo>
                      <a:pt x="1274" y="5287"/>
                    </a:lnTo>
                    <a:lnTo>
                      <a:pt x="1160" y="5206"/>
                    </a:lnTo>
                    <a:lnTo>
                      <a:pt x="1052" y="5120"/>
                    </a:lnTo>
                    <a:lnTo>
                      <a:pt x="947" y="5030"/>
                    </a:lnTo>
                    <a:lnTo>
                      <a:pt x="847" y="4933"/>
                    </a:lnTo>
                    <a:lnTo>
                      <a:pt x="750" y="4833"/>
                    </a:lnTo>
                    <a:lnTo>
                      <a:pt x="660" y="4728"/>
                    </a:lnTo>
                    <a:lnTo>
                      <a:pt x="574" y="4619"/>
                    </a:lnTo>
                    <a:lnTo>
                      <a:pt x="493" y="4506"/>
                    </a:lnTo>
                    <a:lnTo>
                      <a:pt x="418" y="4389"/>
                    </a:lnTo>
                    <a:lnTo>
                      <a:pt x="349" y="4268"/>
                    </a:lnTo>
                    <a:lnTo>
                      <a:pt x="285" y="4143"/>
                    </a:lnTo>
                    <a:lnTo>
                      <a:pt x="227" y="4015"/>
                    </a:lnTo>
                    <a:lnTo>
                      <a:pt x="175" y="3884"/>
                    </a:lnTo>
                    <a:lnTo>
                      <a:pt x="129" y="3750"/>
                    </a:lnTo>
                    <a:lnTo>
                      <a:pt x="90" y="3612"/>
                    </a:lnTo>
                    <a:lnTo>
                      <a:pt x="58" y="3473"/>
                    </a:lnTo>
                    <a:lnTo>
                      <a:pt x="33" y="3330"/>
                    </a:lnTo>
                    <a:lnTo>
                      <a:pt x="14" y="3186"/>
                    </a:lnTo>
                    <a:lnTo>
                      <a:pt x="3" y="3039"/>
                    </a:lnTo>
                    <a:lnTo>
                      <a:pt x="0" y="2890"/>
                    </a:lnTo>
                    <a:lnTo>
                      <a:pt x="3" y="2741"/>
                    </a:lnTo>
                    <a:lnTo>
                      <a:pt x="14" y="2594"/>
                    </a:lnTo>
                    <a:lnTo>
                      <a:pt x="33" y="2450"/>
                    </a:lnTo>
                    <a:lnTo>
                      <a:pt x="58" y="2307"/>
                    </a:lnTo>
                    <a:lnTo>
                      <a:pt x="90" y="2168"/>
                    </a:lnTo>
                    <a:lnTo>
                      <a:pt x="129" y="2030"/>
                    </a:lnTo>
                    <a:lnTo>
                      <a:pt x="175" y="1896"/>
                    </a:lnTo>
                    <a:lnTo>
                      <a:pt x="227" y="1765"/>
                    </a:lnTo>
                    <a:lnTo>
                      <a:pt x="285" y="1637"/>
                    </a:lnTo>
                    <a:lnTo>
                      <a:pt x="349" y="1512"/>
                    </a:lnTo>
                    <a:lnTo>
                      <a:pt x="418" y="1391"/>
                    </a:lnTo>
                    <a:lnTo>
                      <a:pt x="493" y="1274"/>
                    </a:lnTo>
                    <a:lnTo>
                      <a:pt x="574" y="1161"/>
                    </a:lnTo>
                    <a:lnTo>
                      <a:pt x="660" y="1052"/>
                    </a:lnTo>
                    <a:lnTo>
                      <a:pt x="750" y="947"/>
                    </a:lnTo>
                    <a:lnTo>
                      <a:pt x="847" y="847"/>
                    </a:lnTo>
                    <a:lnTo>
                      <a:pt x="947" y="750"/>
                    </a:lnTo>
                    <a:lnTo>
                      <a:pt x="1052" y="660"/>
                    </a:lnTo>
                    <a:lnTo>
                      <a:pt x="1160" y="574"/>
                    </a:lnTo>
                    <a:lnTo>
                      <a:pt x="1274" y="493"/>
                    </a:lnTo>
                    <a:lnTo>
                      <a:pt x="1391" y="418"/>
                    </a:lnTo>
                    <a:lnTo>
                      <a:pt x="1512" y="349"/>
                    </a:lnTo>
                    <a:lnTo>
                      <a:pt x="1637" y="285"/>
                    </a:lnTo>
                    <a:lnTo>
                      <a:pt x="1765" y="227"/>
                    </a:lnTo>
                    <a:lnTo>
                      <a:pt x="1896" y="175"/>
                    </a:lnTo>
                    <a:lnTo>
                      <a:pt x="2030" y="130"/>
                    </a:lnTo>
                    <a:lnTo>
                      <a:pt x="2168" y="90"/>
                    </a:lnTo>
                    <a:lnTo>
                      <a:pt x="2307" y="58"/>
                    </a:lnTo>
                    <a:lnTo>
                      <a:pt x="2450" y="33"/>
                    </a:lnTo>
                    <a:lnTo>
                      <a:pt x="2594" y="14"/>
                    </a:lnTo>
                    <a:lnTo>
                      <a:pt x="2741" y="3"/>
                    </a:lnTo>
                    <a:lnTo>
                      <a:pt x="2890" y="0"/>
                    </a:lnTo>
                    <a:close/>
                  </a:path>
                </a:pathLst>
              </a:custGeom>
              <a:solidFill>
                <a:srgbClr val="CE202A"/>
              </a:solidFill>
              <a:ln>
                <a:solidFill>
                  <a:srgbClr val="CE202A"/>
                </a:solidFill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33" name="Freeform 13"/>
              <p:cNvSpPr>
                <a:spLocks noEditPoints="1"/>
              </p:cNvSpPr>
              <p:nvPr/>
            </p:nvSpPr>
            <p:spPr bwMode="auto">
              <a:xfrm>
                <a:off x="925116" y="4883589"/>
                <a:ext cx="66886" cy="285058"/>
              </a:xfrm>
              <a:custGeom>
                <a:avLst/>
                <a:gdLst>
                  <a:gd name="T0" fmla="*/ 0 w 337"/>
                  <a:gd name="T1" fmla="*/ 0 h 1432"/>
                  <a:gd name="T2" fmla="*/ 337 w 337"/>
                  <a:gd name="T3" fmla="*/ 0 h 1432"/>
                  <a:gd name="T4" fmla="*/ 337 w 337"/>
                  <a:gd name="T5" fmla="*/ 558 h 1432"/>
                  <a:gd name="T6" fmla="*/ 272 w 337"/>
                  <a:gd name="T7" fmla="*/ 1076 h 1432"/>
                  <a:gd name="T8" fmla="*/ 64 w 337"/>
                  <a:gd name="T9" fmla="*/ 1076 h 1432"/>
                  <a:gd name="T10" fmla="*/ 0 w 337"/>
                  <a:gd name="T11" fmla="*/ 558 h 1432"/>
                  <a:gd name="T12" fmla="*/ 0 w 337"/>
                  <a:gd name="T13" fmla="*/ 0 h 1432"/>
                  <a:gd name="T14" fmla="*/ 12 w 337"/>
                  <a:gd name="T15" fmla="*/ 1154 h 1432"/>
                  <a:gd name="T16" fmla="*/ 326 w 337"/>
                  <a:gd name="T17" fmla="*/ 1154 h 1432"/>
                  <a:gd name="T18" fmla="*/ 326 w 337"/>
                  <a:gd name="T19" fmla="*/ 1432 h 1432"/>
                  <a:gd name="T20" fmla="*/ 12 w 337"/>
                  <a:gd name="T21" fmla="*/ 1432 h 1432"/>
                  <a:gd name="T22" fmla="*/ 12 w 337"/>
                  <a:gd name="T23" fmla="*/ 1154 h 1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7" h="1432">
                    <a:moveTo>
                      <a:pt x="0" y="0"/>
                    </a:moveTo>
                    <a:lnTo>
                      <a:pt x="337" y="0"/>
                    </a:lnTo>
                    <a:lnTo>
                      <a:pt x="337" y="558"/>
                    </a:lnTo>
                    <a:lnTo>
                      <a:pt x="272" y="1076"/>
                    </a:lnTo>
                    <a:lnTo>
                      <a:pt x="64" y="1076"/>
                    </a:lnTo>
                    <a:lnTo>
                      <a:pt x="0" y="558"/>
                    </a:lnTo>
                    <a:lnTo>
                      <a:pt x="0" y="0"/>
                    </a:lnTo>
                    <a:close/>
                    <a:moveTo>
                      <a:pt x="12" y="1154"/>
                    </a:moveTo>
                    <a:lnTo>
                      <a:pt x="326" y="1154"/>
                    </a:lnTo>
                    <a:lnTo>
                      <a:pt x="326" y="1432"/>
                    </a:lnTo>
                    <a:lnTo>
                      <a:pt x="12" y="1432"/>
                    </a:lnTo>
                    <a:lnTo>
                      <a:pt x="12" y="11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CE202A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0" name="Oval 39"/>
            <p:cNvSpPr/>
            <p:nvPr/>
          </p:nvSpPr>
          <p:spPr>
            <a:xfrm>
              <a:off x="5025259" y="2424113"/>
              <a:ext cx="939976" cy="939976"/>
            </a:xfrm>
            <a:prstGeom prst="ellipse">
              <a:avLst/>
            </a:prstGeom>
            <a:noFill/>
            <a:ln w="38100" cmpd="thickThin">
              <a:solidFill>
                <a:srgbClr val="CE20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025259" y="2652713"/>
            <a:ext cx="939976" cy="939976"/>
            <a:chOff x="6755734" y="2424113"/>
            <a:chExt cx="939976" cy="939976"/>
          </a:xfrm>
        </p:grpSpPr>
        <p:grpSp>
          <p:nvGrpSpPr>
            <p:cNvPr id="12" name="Group 11"/>
            <p:cNvGrpSpPr/>
            <p:nvPr/>
          </p:nvGrpSpPr>
          <p:grpSpPr>
            <a:xfrm>
              <a:off x="6821919" y="2490299"/>
              <a:ext cx="807606" cy="807604"/>
              <a:chOff x="7923833" y="4705701"/>
              <a:chExt cx="646434" cy="646432"/>
            </a:xfrm>
          </p:grpSpPr>
          <p:sp>
            <p:nvSpPr>
              <p:cNvPr id="30" name="Freeform 7"/>
              <p:cNvSpPr>
                <a:spLocks/>
              </p:cNvSpPr>
              <p:nvPr/>
            </p:nvSpPr>
            <p:spPr bwMode="auto">
              <a:xfrm>
                <a:off x="7923833" y="4705701"/>
                <a:ext cx="646434" cy="646432"/>
              </a:xfrm>
              <a:custGeom>
                <a:avLst/>
                <a:gdLst>
                  <a:gd name="T0" fmla="*/ 3185 w 5780"/>
                  <a:gd name="T1" fmla="*/ 14 h 5780"/>
                  <a:gd name="T2" fmla="*/ 3612 w 5780"/>
                  <a:gd name="T3" fmla="*/ 90 h 5780"/>
                  <a:gd name="T4" fmla="*/ 4015 w 5780"/>
                  <a:gd name="T5" fmla="*/ 227 h 5780"/>
                  <a:gd name="T6" fmla="*/ 4388 w 5780"/>
                  <a:gd name="T7" fmla="*/ 418 h 5780"/>
                  <a:gd name="T8" fmla="*/ 4728 w 5780"/>
                  <a:gd name="T9" fmla="*/ 660 h 5780"/>
                  <a:gd name="T10" fmla="*/ 5030 w 5780"/>
                  <a:gd name="T11" fmla="*/ 947 h 5780"/>
                  <a:gd name="T12" fmla="*/ 5287 w 5780"/>
                  <a:gd name="T13" fmla="*/ 1274 h 5780"/>
                  <a:gd name="T14" fmla="*/ 5495 w 5780"/>
                  <a:gd name="T15" fmla="*/ 1637 h 5780"/>
                  <a:gd name="T16" fmla="*/ 5650 w 5780"/>
                  <a:gd name="T17" fmla="*/ 2030 h 5780"/>
                  <a:gd name="T18" fmla="*/ 5747 w 5780"/>
                  <a:gd name="T19" fmla="*/ 2450 h 5780"/>
                  <a:gd name="T20" fmla="*/ 5780 w 5780"/>
                  <a:gd name="T21" fmla="*/ 2890 h 5780"/>
                  <a:gd name="T22" fmla="*/ 5747 w 5780"/>
                  <a:gd name="T23" fmla="*/ 3330 h 5780"/>
                  <a:gd name="T24" fmla="*/ 5650 w 5780"/>
                  <a:gd name="T25" fmla="*/ 3750 h 5780"/>
                  <a:gd name="T26" fmla="*/ 5495 w 5780"/>
                  <a:gd name="T27" fmla="*/ 4143 h 5780"/>
                  <a:gd name="T28" fmla="*/ 5287 w 5780"/>
                  <a:gd name="T29" fmla="*/ 4506 h 5780"/>
                  <a:gd name="T30" fmla="*/ 5030 w 5780"/>
                  <a:gd name="T31" fmla="*/ 4833 h 5780"/>
                  <a:gd name="T32" fmla="*/ 4728 w 5780"/>
                  <a:gd name="T33" fmla="*/ 5120 h 5780"/>
                  <a:gd name="T34" fmla="*/ 4388 w 5780"/>
                  <a:gd name="T35" fmla="*/ 5362 h 5780"/>
                  <a:gd name="T36" fmla="*/ 4015 w 5780"/>
                  <a:gd name="T37" fmla="*/ 5553 h 5780"/>
                  <a:gd name="T38" fmla="*/ 3612 w 5780"/>
                  <a:gd name="T39" fmla="*/ 5690 h 5780"/>
                  <a:gd name="T40" fmla="*/ 3185 w 5780"/>
                  <a:gd name="T41" fmla="*/ 5766 h 5780"/>
                  <a:gd name="T42" fmla="*/ 2741 w 5780"/>
                  <a:gd name="T43" fmla="*/ 5777 h 5780"/>
                  <a:gd name="T44" fmla="*/ 2307 w 5780"/>
                  <a:gd name="T45" fmla="*/ 5722 h 5780"/>
                  <a:gd name="T46" fmla="*/ 1896 w 5780"/>
                  <a:gd name="T47" fmla="*/ 5605 h 5780"/>
                  <a:gd name="T48" fmla="*/ 1512 w 5780"/>
                  <a:gd name="T49" fmla="*/ 5431 h 5780"/>
                  <a:gd name="T50" fmla="*/ 1160 w 5780"/>
                  <a:gd name="T51" fmla="*/ 5206 h 5780"/>
                  <a:gd name="T52" fmla="*/ 847 w 5780"/>
                  <a:gd name="T53" fmla="*/ 4933 h 5780"/>
                  <a:gd name="T54" fmla="*/ 574 w 5780"/>
                  <a:gd name="T55" fmla="*/ 4619 h 5780"/>
                  <a:gd name="T56" fmla="*/ 349 w 5780"/>
                  <a:gd name="T57" fmla="*/ 4268 h 5780"/>
                  <a:gd name="T58" fmla="*/ 175 w 5780"/>
                  <a:gd name="T59" fmla="*/ 3884 h 5780"/>
                  <a:gd name="T60" fmla="*/ 58 w 5780"/>
                  <a:gd name="T61" fmla="*/ 3473 h 5780"/>
                  <a:gd name="T62" fmla="*/ 3 w 5780"/>
                  <a:gd name="T63" fmla="*/ 3039 h 5780"/>
                  <a:gd name="T64" fmla="*/ 14 w 5780"/>
                  <a:gd name="T65" fmla="*/ 2594 h 5780"/>
                  <a:gd name="T66" fmla="*/ 90 w 5780"/>
                  <a:gd name="T67" fmla="*/ 2168 h 5780"/>
                  <a:gd name="T68" fmla="*/ 227 w 5780"/>
                  <a:gd name="T69" fmla="*/ 1765 h 5780"/>
                  <a:gd name="T70" fmla="*/ 418 w 5780"/>
                  <a:gd name="T71" fmla="*/ 1391 h 5780"/>
                  <a:gd name="T72" fmla="*/ 660 w 5780"/>
                  <a:gd name="T73" fmla="*/ 1052 h 5780"/>
                  <a:gd name="T74" fmla="*/ 947 w 5780"/>
                  <a:gd name="T75" fmla="*/ 750 h 5780"/>
                  <a:gd name="T76" fmla="*/ 1274 w 5780"/>
                  <a:gd name="T77" fmla="*/ 493 h 5780"/>
                  <a:gd name="T78" fmla="*/ 1637 w 5780"/>
                  <a:gd name="T79" fmla="*/ 285 h 5780"/>
                  <a:gd name="T80" fmla="*/ 2030 w 5780"/>
                  <a:gd name="T81" fmla="*/ 130 h 5780"/>
                  <a:gd name="T82" fmla="*/ 2450 w 5780"/>
                  <a:gd name="T83" fmla="*/ 33 h 5780"/>
                  <a:gd name="T84" fmla="*/ 2890 w 5780"/>
                  <a:gd name="T85" fmla="*/ 0 h 5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80" h="5780">
                    <a:moveTo>
                      <a:pt x="2890" y="0"/>
                    </a:moveTo>
                    <a:lnTo>
                      <a:pt x="3039" y="3"/>
                    </a:lnTo>
                    <a:lnTo>
                      <a:pt x="3185" y="14"/>
                    </a:lnTo>
                    <a:lnTo>
                      <a:pt x="3331" y="33"/>
                    </a:lnTo>
                    <a:lnTo>
                      <a:pt x="3472" y="58"/>
                    </a:lnTo>
                    <a:lnTo>
                      <a:pt x="3612" y="90"/>
                    </a:lnTo>
                    <a:lnTo>
                      <a:pt x="3749" y="130"/>
                    </a:lnTo>
                    <a:lnTo>
                      <a:pt x="3884" y="175"/>
                    </a:lnTo>
                    <a:lnTo>
                      <a:pt x="4015" y="227"/>
                    </a:lnTo>
                    <a:lnTo>
                      <a:pt x="4143" y="285"/>
                    </a:lnTo>
                    <a:lnTo>
                      <a:pt x="4268" y="349"/>
                    </a:lnTo>
                    <a:lnTo>
                      <a:pt x="4388" y="418"/>
                    </a:lnTo>
                    <a:lnTo>
                      <a:pt x="4506" y="493"/>
                    </a:lnTo>
                    <a:lnTo>
                      <a:pt x="4619" y="574"/>
                    </a:lnTo>
                    <a:lnTo>
                      <a:pt x="4728" y="660"/>
                    </a:lnTo>
                    <a:lnTo>
                      <a:pt x="4833" y="750"/>
                    </a:lnTo>
                    <a:lnTo>
                      <a:pt x="4934" y="847"/>
                    </a:lnTo>
                    <a:lnTo>
                      <a:pt x="5030" y="947"/>
                    </a:lnTo>
                    <a:lnTo>
                      <a:pt x="5120" y="1052"/>
                    </a:lnTo>
                    <a:lnTo>
                      <a:pt x="5206" y="1161"/>
                    </a:lnTo>
                    <a:lnTo>
                      <a:pt x="5287" y="1274"/>
                    </a:lnTo>
                    <a:lnTo>
                      <a:pt x="5362" y="1391"/>
                    </a:lnTo>
                    <a:lnTo>
                      <a:pt x="5431" y="1512"/>
                    </a:lnTo>
                    <a:lnTo>
                      <a:pt x="5495" y="1637"/>
                    </a:lnTo>
                    <a:lnTo>
                      <a:pt x="5553" y="1765"/>
                    </a:lnTo>
                    <a:lnTo>
                      <a:pt x="5605" y="1896"/>
                    </a:lnTo>
                    <a:lnTo>
                      <a:pt x="5650" y="2030"/>
                    </a:lnTo>
                    <a:lnTo>
                      <a:pt x="5689" y="2168"/>
                    </a:lnTo>
                    <a:lnTo>
                      <a:pt x="5722" y="2307"/>
                    </a:lnTo>
                    <a:lnTo>
                      <a:pt x="5747" y="2450"/>
                    </a:lnTo>
                    <a:lnTo>
                      <a:pt x="5765" y="2594"/>
                    </a:lnTo>
                    <a:lnTo>
                      <a:pt x="5776" y="2741"/>
                    </a:lnTo>
                    <a:lnTo>
                      <a:pt x="5780" y="2890"/>
                    </a:lnTo>
                    <a:lnTo>
                      <a:pt x="5776" y="3039"/>
                    </a:lnTo>
                    <a:lnTo>
                      <a:pt x="5765" y="3186"/>
                    </a:lnTo>
                    <a:lnTo>
                      <a:pt x="5747" y="3330"/>
                    </a:lnTo>
                    <a:lnTo>
                      <a:pt x="5722" y="3473"/>
                    </a:lnTo>
                    <a:lnTo>
                      <a:pt x="5689" y="3612"/>
                    </a:lnTo>
                    <a:lnTo>
                      <a:pt x="5650" y="3750"/>
                    </a:lnTo>
                    <a:lnTo>
                      <a:pt x="5605" y="3884"/>
                    </a:lnTo>
                    <a:lnTo>
                      <a:pt x="5553" y="4015"/>
                    </a:lnTo>
                    <a:lnTo>
                      <a:pt x="5495" y="4143"/>
                    </a:lnTo>
                    <a:lnTo>
                      <a:pt x="5431" y="4268"/>
                    </a:lnTo>
                    <a:lnTo>
                      <a:pt x="5362" y="4389"/>
                    </a:lnTo>
                    <a:lnTo>
                      <a:pt x="5287" y="4506"/>
                    </a:lnTo>
                    <a:lnTo>
                      <a:pt x="5206" y="4619"/>
                    </a:lnTo>
                    <a:lnTo>
                      <a:pt x="5120" y="4728"/>
                    </a:lnTo>
                    <a:lnTo>
                      <a:pt x="5030" y="4833"/>
                    </a:lnTo>
                    <a:lnTo>
                      <a:pt x="4934" y="4933"/>
                    </a:lnTo>
                    <a:lnTo>
                      <a:pt x="4833" y="5030"/>
                    </a:lnTo>
                    <a:lnTo>
                      <a:pt x="4728" y="5120"/>
                    </a:lnTo>
                    <a:lnTo>
                      <a:pt x="4619" y="5206"/>
                    </a:lnTo>
                    <a:lnTo>
                      <a:pt x="4506" y="5287"/>
                    </a:lnTo>
                    <a:lnTo>
                      <a:pt x="4388" y="5362"/>
                    </a:lnTo>
                    <a:lnTo>
                      <a:pt x="4268" y="5431"/>
                    </a:lnTo>
                    <a:lnTo>
                      <a:pt x="4143" y="5495"/>
                    </a:lnTo>
                    <a:lnTo>
                      <a:pt x="4015" y="5553"/>
                    </a:lnTo>
                    <a:lnTo>
                      <a:pt x="3884" y="5605"/>
                    </a:lnTo>
                    <a:lnTo>
                      <a:pt x="3749" y="5650"/>
                    </a:lnTo>
                    <a:lnTo>
                      <a:pt x="3612" y="5690"/>
                    </a:lnTo>
                    <a:lnTo>
                      <a:pt x="3472" y="5722"/>
                    </a:lnTo>
                    <a:lnTo>
                      <a:pt x="3331" y="5747"/>
                    </a:lnTo>
                    <a:lnTo>
                      <a:pt x="3185" y="5766"/>
                    </a:lnTo>
                    <a:lnTo>
                      <a:pt x="3039" y="5777"/>
                    </a:lnTo>
                    <a:lnTo>
                      <a:pt x="2890" y="5780"/>
                    </a:lnTo>
                    <a:lnTo>
                      <a:pt x="2741" y="5777"/>
                    </a:lnTo>
                    <a:lnTo>
                      <a:pt x="2594" y="5766"/>
                    </a:lnTo>
                    <a:lnTo>
                      <a:pt x="2450" y="5747"/>
                    </a:lnTo>
                    <a:lnTo>
                      <a:pt x="2307" y="5722"/>
                    </a:lnTo>
                    <a:lnTo>
                      <a:pt x="2168" y="5690"/>
                    </a:lnTo>
                    <a:lnTo>
                      <a:pt x="2030" y="5650"/>
                    </a:lnTo>
                    <a:lnTo>
                      <a:pt x="1896" y="5605"/>
                    </a:lnTo>
                    <a:lnTo>
                      <a:pt x="1765" y="5553"/>
                    </a:lnTo>
                    <a:lnTo>
                      <a:pt x="1637" y="5495"/>
                    </a:lnTo>
                    <a:lnTo>
                      <a:pt x="1512" y="5431"/>
                    </a:lnTo>
                    <a:lnTo>
                      <a:pt x="1391" y="5362"/>
                    </a:lnTo>
                    <a:lnTo>
                      <a:pt x="1274" y="5287"/>
                    </a:lnTo>
                    <a:lnTo>
                      <a:pt x="1160" y="5206"/>
                    </a:lnTo>
                    <a:lnTo>
                      <a:pt x="1052" y="5120"/>
                    </a:lnTo>
                    <a:lnTo>
                      <a:pt x="947" y="5030"/>
                    </a:lnTo>
                    <a:lnTo>
                      <a:pt x="847" y="4933"/>
                    </a:lnTo>
                    <a:lnTo>
                      <a:pt x="750" y="4833"/>
                    </a:lnTo>
                    <a:lnTo>
                      <a:pt x="660" y="4728"/>
                    </a:lnTo>
                    <a:lnTo>
                      <a:pt x="574" y="4619"/>
                    </a:lnTo>
                    <a:lnTo>
                      <a:pt x="493" y="4506"/>
                    </a:lnTo>
                    <a:lnTo>
                      <a:pt x="418" y="4389"/>
                    </a:lnTo>
                    <a:lnTo>
                      <a:pt x="349" y="4268"/>
                    </a:lnTo>
                    <a:lnTo>
                      <a:pt x="285" y="4143"/>
                    </a:lnTo>
                    <a:lnTo>
                      <a:pt x="227" y="4015"/>
                    </a:lnTo>
                    <a:lnTo>
                      <a:pt x="175" y="3884"/>
                    </a:lnTo>
                    <a:lnTo>
                      <a:pt x="129" y="3750"/>
                    </a:lnTo>
                    <a:lnTo>
                      <a:pt x="90" y="3612"/>
                    </a:lnTo>
                    <a:lnTo>
                      <a:pt x="58" y="3473"/>
                    </a:lnTo>
                    <a:lnTo>
                      <a:pt x="33" y="3330"/>
                    </a:lnTo>
                    <a:lnTo>
                      <a:pt x="14" y="3186"/>
                    </a:lnTo>
                    <a:lnTo>
                      <a:pt x="3" y="3039"/>
                    </a:lnTo>
                    <a:lnTo>
                      <a:pt x="0" y="2890"/>
                    </a:lnTo>
                    <a:lnTo>
                      <a:pt x="3" y="2741"/>
                    </a:lnTo>
                    <a:lnTo>
                      <a:pt x="14" y="2594"/>
                    </a:lnTo>
                    <a:lnTo>
                      <a:pt x="33" y="2450"/>
                    </a:lnTo>
                    <a:lnTo>
                      <a:pt x="58" y="2307"/>
                    </a:lnTo>
                    <a:lnTo>
                      <a:pt x="90" y="2168"/>
                    </a:lnTo>
                    <a:lnTo>
                      <a:pt x="129" y="2030"/>
                    </a:lnTo>
                    <a:lnTo>
                      <a:pt x="175" y="1896"/>
                    </a:lnTo>
                    <a:lnTo>
                      <a:pt x="227" y="1765"/>
                    </a:lnTo>
                    <a:lnTo>
                      <a:pt x="285" y="1637"/>
                    </a:lnTo>
                    <a:lnTo>
                      <a:pt x="349" y="1512"/>
                    </a:lnTo>
                    <a:lnTo>
                      <a:pt x="418" y="1391"/>
                    </a:lnTo>
                    <a:lnTo>
                      <a:pt x="493" y="1274"/>
                    </a:lnTo>
                    <a:lnTo>
                      <a:pt x="574" y="1161"/>
                    </a:lnTo>
                    <a:lnTo>
                      <a:pt x="660" y="1052"/>
                    </a:lnTo>
                    <a:lnTo>
                      <a:pt x="750" y="947"/>
                    </a:lnTo>
                    <a:lnTo>
                      <a:pt x="847" y="847"/>
                    </a:lnTo>
                    <a:lnTo>
                      <a:pt x="947" y="750"/>
                    </a:lnTo>
                    <a:lnTo>
                      <a:pt x="1052" y="660"/>
                    </a:lnTo>
                    <a:lnTo>
                      <a:pt x="1160" y="574"/>
                    </a:lnTo>
                    <a:lnTo>
                      <a:pt x="1274" y="493"/>
                    </a:lnTo>
                    <a:lnTo>
                      <a:pt x="1391" y="418"/>
                    </a:lnTo>
                    <a:lnTo>
                      <a:pt x="1512" y="349"/>
                    </a:lnTo>
                    <a:lnTo>
                      <a:pt x="1637" y="285"/>
                    </a:lnTo>
                    <a:lnTo>
                      <a:pt x="1765" y="227"/>
                    </a:lnTo>
                    <a:lnTo>
                      <a:pt x="1896" y="175"/>
                    </a:lnTo>
                    <a:lnTo>
                      <a:pt x="2030" y="130"/>
                    </a:lnTo>
                    <a:lnTo>
                      <a:pt x="2168" y="90"/>
                    </a:lnTo>
                    <a:lnTo>
                      <a:pt x="2307" y="58"/>
                    </a:lnTo>
                    <a:lnTo>
                      <a:pt x="2450" y="33"/>
                    </a:lnTo>
                    <a:lnTo>
                      <a:pt x="2594" y="14"/>
                    </a:lnTo>
                    <a:lnTo>
                      <a:pt x="2741" y="3"/>
                    </a:lnTo>
                    <a:lnTo>
                      <a:pt x="2890" y="0"/>
                    </a:lnTo>
                    <a:close/>
                  </a:path>
                </a:pathLst>
              </a:custGeom>
              <a:solidFill>
                <a:srgbClr val="E99E09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latin typeface="+mj-lt"/>
                </a:endParaRPr>
              </a:p>
            </p:txBody>
          </p:sp>
          <p:sp>
            <p:nvSpPr>
              <p:cNvPr id="32" name="Freeform 12"/>
              <p:cNvSpPr>
                <a:spLocks/>
              </p:cNvSpPr>
              <p:nvPr/>
            </p:nvSpPr>
            <p:spPr bwMode="auto">
              <a:xfrm>
                <a:off x="8108566" y="4885110"/>
                <a:ext cx="281372" cy="267026"/>
              </a:xfrm>
              <a:custGeom>
                <a:avLst/>
                <a:gdLst>
                  <a:gd name="T0" fmla="*/ 509 w 1018"/>
                  <a:gd name="T1" fmla="*/ 0 h 968"/>
                  <a:gd name="T2" fmla="*/ 665 w 1018"/>
                  <a:gd name="T3" fmla="*/ 321 h 968"/>
                  <a:gd name="T4" fmla="*/ 1018 w 1018"/>
                  <a:gd name="T5" fmla="*/ 370 h 968"/>
                  <a:gd name="T6" fmla="*/ 761 w 1018"/>
                  <a:gd name="T7" fmla="*/ 617 h 968"/>
                  <a:gd name="T8" fmla="*/ 824 w 1018"/>
                  <a:gd name="T9" fmla="*/ 968 h 968"/>
                  <a:gd name="T10" fmla="*/ 509 w 1018"/>
                  <a:gd name="T11" fmla="*/ 800 h 968"/>
                  <a:gd name="T12" fmla="*/ 194 w 1018"/>
                  <a:gd name="T13" fmla="*/ 968 h 968"/>
                  <a:gd name="T14" fmla="*/ 257 w 1018"/>
                  <a:gd name="T15" fmla="*/ 617 h 968"/>
                  <a:gd name="T16" fmla="*/ 0 w 1018"/>
                  <a:gd name="T17" fmla="*/ 370 h 968"/>
                  <a:gd name="T18" fmla="*/ 353 w 1018"/>
                  <a:gd name="T19" fmla="*/ 321 h 968"/>
                  <a:gd name="T20" fmla="*/ 509 w 1018"/>
                  <a:gd name="T21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18" h="968">
                    <a:moveTo>
                      <a:pt x="509" y="0"/>
                    </a:moveTo>
                    <a:lnTo>
                      <a:pt x="665" y="321"/>
                    </a:lnTo>
                    <a:lnTo>
                      <a:pt x="1018" y="370"/>
                    </a:lnTo>
                    <a:lnTo>
                      <a:pt x="761" y="617"/>
                    </a:lnTo>
                    <a:lnTo>
                      <a:pt x="824" y="968"/>
                    </a:lnTo>
                    <a:lnTo>
                      <a:pt x="509" y="800"/>
                    </a:lnTo>
                    <a:lnTo>
                      <a:pt x="194" y="968"/>
                    </a:lnTo>
                    <a:lnTo>
                      <a:pt x="257" y="617"/>
                    </a:lnTo>
                    <a:lnTo>
                      <a:pt x="0" y="370"/>
                    </a:lnTo>
                    <a:lnTo>
                      <a:pt x="353" y="321"/>
                    </a:lnTo>
                    <a:lnTo>
                      <a:pt x="50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1" name="Oval 40"/>
            <p:cNvSpPr/>
            <p:nvPr/>
          </p:nvSpPr>
          <p:spPr>
            <a:xfrm>
              <a:off x="6755734" y="2424113"/>
              <a:ext cx="939976" cy="939976"/>
            </a:xfrm>
            <a:prstGeom prst="ellipse">
              <a:avLst/>
            </a:prstGeom>
            <a:noFill/>
            <a:ln w="38100" cmpd="thickThin">
              <a:solidFill>
                <a:srgbClr val="E99E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8" name="Rectangle 33"/>
          <p:cNvSpPr>
            <a:spLocks/>
          </p:cNvSpPr>
          <p:nvPr/>
        </p:nvSpPr>
        <p:spPr bwMode="auto">
          <a:xfrm>
            <a:off x="1403357" y="3714908"/>
            <a:ext cx="124775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STRENGTH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49" name="Rectangle 33"/>
          <p:cNvSpPr>
            <a:spLocks/>
          </p:cNvSpPr>
          <p:nvPr/>
        </p:nvSpPr>
        <p:spPr bwMode="auto">
          <a:xfrm>
            <a:off x="3164231" y="3714908"/>
            <a:ext cx="124775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WEAKNESS </a:t>
            </a:r>
            <a:endParaRPr lang="en-US" sz="1200" b="1" dirty="0" smtClean="0"/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50" name="Rectangle 33"/>
          <p:cNvSpPr>
            <a:spLocks/>
          </p:cNvSpPr>
          <p:nvPr/>
        </p:nvSpPr>
        <p:spPr bwMode="auto">
          <a:xfrm>
            <a:off x="4935227" y="3714908"/>
            <a:ext cx="124775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OPPORTUNITY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51" name="Rectangle 33"/>
          <p:cNvSpPr>
            <a:spLocks/>
          </p:cNvSpPr>
          <p:nvPr/>
        </p:nvSpPr>
        <p:spPr bwMode="auto">
          <a:xfrm>
            <a:off x="6630815" y="3714908"/>
            <a:ext cx="124775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THREAT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963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/>
          <p:cNvCxnSpPr/>
          <p:nvPr/>
        </p:nvCxnSpPr>
        <p:spPr>
          <a:xfrm>
            <a:off x="4572000" y="1600200"/>
            <a:ext cx="0" cy="4191000"/>
          </a:xfrm>
          <a:prstGeom prst="line">
            <a:avLst/>
          </a:prstGeom>
          <a:ln w="127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81000" y="3695700"/>
            <a:ext cx="8382000" cy="0"/>
          </a:xfrm>
          <a:prstGeom prst="line">
            <a:avLst/>
          </a:prstGeom>
          <a:ln w="127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3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741420" y="2865775"/>
            <a:ext cx="830580" cy="830580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572000" y="2865775"/>
            <a:ext cx="830580" cy="830580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3741420" y="3687425"/>
            <a:ext cx="830580" cy="830580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572000" y="3687425"/>
            <a:ext cx="830580" cy="830580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6" name="Freeform 5"/>
          <p:cNvSpPr>
            <a:spLocks noEditPoints="1"/>
          </p:cNvSpPr>
          <p:nvPr/>
        </p:nvSpPr>
        <p:spPr bwMode="auto">
          <a:xfrm>
            <a:off x="3957737" y="3858491"/>
            <a:ext cx="397946" cy="458482"/>
          </a:xfrm>
          <a:custGeom>
            <a:avLst/>
            <a:gdLst>
              <a:gd name="T0" fmla="*/ 3981 w 4013"/>
              <a:gd name="T1" fmla="*/ 2776 h 4620"/>
              <a:gd name="T2" fmla="*/ 3867 w 4013"/>
              <a:gd name="T3" fmla="*/ 3293 h 4620"/>
              <a:gd name="T4" fmla="*/ 3675 w 4013"/>
              <a:gd name="T5" fmla="*/ 3735 h 4620"/>
              <a:gd name="T6" fmla="*/ 3400 w 4013"/>
              <a:gd name="T7" fmla="*/ 4093 h 4620"/>
              <a:gd name="T8" fmla="*/ 3045 w 4013"/>
              <a:gd name="T9" fmla="*/ 4364 h 4620"/>
              <a:gd name="T10" fmla="*/ 2607 w 4013"/>
              <a:gd name="T11" fmla="*/ 4542 h 4620"/>
              <a:gd name="T12" fmla="*/ 2089 w 4013"/>
              <a:gd name="T13" fmla="*/ 4618 h 4620"/>
              <a:gd name="T14" fmla="*/ 1546 w 4013"/>
              <a:gd name="T15" fmla="*/ 4591 h 4620"/>
              <a:gd name="T16" fmla="*/ 1088 w 4013"/>
              <a:gd name="T17" fmla="*/ 4468 h 4620"/>
              <a:gd name="T18" fmla="*/ 712 w 4013"/>
              <a:gd name="T19" fmla="*/ 4256 h 4620"/>
              <a:gd name="T20" fmla="*/ 419 w 4013"/>
              <a:gd name="T21" fmla="*/ 3956 h 4620"/>
              <a:gd name="T22" fmla="*/ 204 w 4013"/>
              <a:gd name="T23" fmla="*/ 3569 h 4620"/>
              <a:gd name="T24" fmla="*/ 66 w 4013"/>
              <a:gd name="T25" fmla="*/ 3094 h 4620"/>
              <a:gd name="T26" fmla="*/ 3 w 4013"/>
              <a:gd name="T27" fmla="*/ 2538 h 4620"/>
              <a:gd name="T28" fmla="*/ 17 w 4013"/>
              <a:gd name="T29" fmla="*/ 1950 h 4620"/>
              <a:gd name="T30" fmla="*/ 113 w 4013"/>
              <a:gd name="T31" fmla="*/ 1425 h 4620"/>
              <a:gd name="T32" fmla="*/ 288 w 4013"/>
              <a:gd name="T33" fmla="*/ 969 h 4620"/>
              <a:gd name="T34" fmla="*/ 546 w 4013"/>
              <a:gd name="T35" fmla="*/ 596 h 4620"/>
              <a:gd name="T36" fmla="*/ 884 w 4013"/>
              <a:gd name="T37" fmla="*/ 308 h 4620"/>
              <a:gd name="T38" fmla="*/ 1303 w 4013"/>
              <a:gd name="T39" fmla="*/ 109 h 4620"/>
              <a:gd name="T40" fmla="*/ 1804 w 4013"/>
              <a:gd name="T41" fmla="*/ 11 h 4620"/>
              <a:gd name="T42" fmla="*/ 2350 w 4013"/>
              <a:gd name="T43" fmla="*/ 15 h 4620"/>
              <a:gd name="T44" fmla="*/ 2822 w 4013"/>
              <a:gd name="T45" fmla="*/ 115 h 4620"/>
              <a:gd name="T46" fmla="*/ 3214 w 4013"/>
              <a:gd name="T47" fmla="*/ 306 h 4620"/>
              <a:gd name="T48" fmla="*/ 3529 w 4013"/>
              <a:gd name="T49" fmla="*/ 585 h 4620"/>
              <a:gd name="T50" fmla="*/ 3764 w 4013"/>
              <a:gd name="T51" fmla="*/ 950 h 4620"/>
              <a:gd name="T52" fmla="*/ 3921 w 4013"/>
              <a:gd name="T53" fmla="*/ 1399 h 4620"/>
              <a:gd name="T54" fmla="*/ 4001 w 4013"/>
              <a:gd name="T55" fmla="*/ 1930 h 4620"/>
              <a:gd name="T56" fmla="*/ 3381 w 4013"/>
              <a:gd name="T57" fmla="*/ 2158 h 4620"/>
              <a:gd name="T58" fmla="*/ 3346 w 4013"/>
              <a:gd name="T59" fmla="*/ 1758 h 4620"/>
              <a:gd name="T60" fmla="*/ 3266 w 4013"/>
              <a:gd name="T61" fmla="*/ 1394 h 4620"/>
              <a:gd name="T62" fmla="*/ 3130 w 4013"/>
              <a:gd name="T63" fmla="*/ 1084 h 4620"/>
              <a:gd name="T64" fmla="*/ 2933 w 4013"/>
              <a:gd name="T65" fmla="*/ 831 h 4620"/>
              <a:gd name="T66" fmla="*/ 2670 w 4013"/>
              <a:gd name="T67" fmla="*/ 646 h 4620"/>
              <a:gd name="T68" fmla="*/ 2334 w 4013"/>
              <a:gd name="T69" fmla="*/ 536 h 4620"/>
              <a:gd name="T70" fmla="*/ 1923 w 4013"/>
              <a:gd name="T71" fmla="*/ 513 h 4620"/>
              <a:gd name="T72" fmla="*/ 1543 w 4013"/>
              <a:gd name="T73" fmla="*/ 579 h 4620"/>
              <a:gd name="T74" fmla="*/ 1240 w 4013"/>
              <a:gd name="T75" fmla="*/ 734 h 4620"/>
              <a:gd name="T76" fmla="*/ 1003 w 4013"/>
              <a:gd name="T77" fmla="*/ 956 h 4620"/>
              <a:gd name="T78" fmla="*/ 828 w 4013"/>
              <a:gd name="T79" fmla="*/ 1238 h 4620"/>
              <a:gd name="T80" fmla="*/ 711 w 4013"/>
              <a:gd name="T81" fmla="*/ 1571 h 4620"/>
              <a:gd name="T82" fmla="*/ 648 w 4013"/>
              <a:gd name="T83" fmla="*/ 1944 h 4620"/>
              <a:gd name="T84" fmla="*/ 631 w 4013"/>
              <a:gd name="T85" fmla="*/ 2342 h 4620"/>
              <a:gd name="T86" fmla="*/ 656 w 4013"/>
              <a:gd name="T87" fmla="*/ 2762 h 4620"/>
              <a:gd name="T88" fmla="*/ 725 w 4013"/>
              <a:gd name="T89" fmla="*/ 3142 h 4620"/>
              <a:gd name="T90" fmla="*/ 846 w 4013"/>
              <a:gd name="T91" fmla="*/ 3469 h 4620"/>
              <a:gd name="T92" fmla="*/ 1026 w 4013"/>
              <a:gd name="T93" fmla="*/ 3736 h 4620"/>
              <a:gd name="T94" fmla="*/ 1272 w 4013"/>
              <a:gd name="T95" fmla="*/ 3934 h 4620"/>
              <a:gd name="T96" fmla="*/ 1591 w 4013"/>
              <a:gd name="T97" fmla="*/ 4061 h 4620"/>
              <a:gd name="T98" fmla="*/ 1995 w 4013"/>
              <a:gd name="T99" fmla="*/ 4103 h 4620"/>
              <a:gd name="T100" fmla="*/ 2395 w 4013"/>
              <a:gd name="T101" fmla="*/ 4057 h 4620"/>
              <a:gd name="T102" fmla="*/ 2717 w 4013"/>
              <a:gd name="T103" fmla="*/ 3919 h 4620"/>
              <a:gd name="T104" fmla="*/ 2971 w 4013"/>
              <a:gd name="T105" fmla="*/ 3709 h 4620"/>
              <a:gd name="T106" fmla="*/ 3158 w 4013"/>
              <a:gd name="T107" fmla="*/ 3435 h 4620"/>
              <a:gd name="T108" fmla="*/ 3286 w 4013"/>
              <a:gd name="T109" fmla="*/ 3109 h 4620"/>
              <a:gd name="T110" fmla="*/ 3358 w 4013"/>
              <a:gd name="T111" fmla="*/ 2740 h 4620"/>
              <a:gd name="T112" fmla="*/ 3383 w 4013"/>
              <a:gd name="T113" fmla="*/ 2345 h 4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13" h="4620">
                <a:moveTo>
                  <a:pt x="4013" y="2258"/>
                </a:moveTo>
                <a:lnTo>
                  <a:pt x="4012" y="2326"/>
                </a:lnTo>
                <a:lnTo>
                  <a:pt x="4011" y="2393"/>
                </a:lnTo>
                <a:lnTo>
                  <a:pt x="4009" y="2458"/>
                </a:lnTo>
                <a:lnTo>
                  <a:pt x="4004" y="2524"/>
                </a:lnTo>
                <a:lnTo>
                  <a:pt x="4000" y="2588"/>
                </a:lnTo>
                <a:lnTo>
                  <a:pt x="3995" y="2651"/>
                </a:lnTo>
                <a:lnTo>
                  <a:pt x="3988" y="2714"/>
                </a:lnTo>
                <a:lnTo>
                  <a:pt x="3981" y="2776"/>
                </a:lnTo>
                <a:lnTo>
                  <a:pt x="3972" y="2836"/>
                </a:lnTo>
                <a:lnTo>
                  <a:pt x="3962" y="2897"/>
                </a:lnTo>
                <a:lnTo>
                  <a:pt x="3952" y="2956"/>
                </a:lnTo>
                <a:lnTo>
                  <a:pt x="3940" y="3015"/>
                </a:lnTo>
                <a:lnTo>
                  <a:pt x="3927" y="3072"/>
                </a:lnTo>
                <a:lnTo>
                  <a:pt x="3914" y="3129"/>
                </a:lnTo>
                <a:lnTo>
                  <a:pt x="3899" y="3185"/>
                </a:lnTo>
                <a:lnTo>
                  <a:pt x="3883" y="3240"/>
                </a:lnTo>
                <a:lnTo>
                  <a:pt x="3867" y="3293"/>
                </a:lnTo>
                <a:lnTo>
                  <a:pt x="3850" y="3347"/>
                </a:lnTo>
                <a:lnTo>
                  <a:pt x="3831" y="3399"/>
                </a:lnTo>
                <a:lnTo>
                  <a:pt x="3812" y="3450"/>
                </a:lnTo>
                <a:lnTo>
                  <a:pt x="3791" y="3500"/>
                </a:lnTo>
                <a:lnTo>
                  <a:pt x="3770" y="3549"/>
                </a:lnTo>
                <a:lnTo>
                  <a:pt x="3747" y="3596"/>
                </a:lnTo>
                <a:lnTo>
                  <a:pt x="3724" y="3644"/>
                </a:lnTo>
                <a:lnTo>
                  <a:pt x="3699" y="3690"/>
                </a:lnTo>
                <a:lnTo>
                  <a:pt x="3675" y="3735"/>
                </a:lnTo>
                <a:lnTo>
                  <a:pt x="3648" y="3778"/>
                </a:lnTo>
                <a:lnTo>
                  <a:pt x="3620" y="3821"/>
                </a:lnTo>
                <a:lnTo>
                  <a:pt x="3592" y="3863"/>
                </a:lnTo>
                <a:lnTo>
                  <a:pt x="3563" y="3905"/>
                </a:lnTo>
                <a:lnTo>
                  <a:pt x="3532" y="3944"/>
                </a:lnTo>
                <a:lnTo>
                  <a:pt x="3501" y="3983"/>
                </a:lnTo>
                <a:lnTo>
                  <a:pt x="3469" y="4021"/>
                </a:lnTo>
                <a:lnTo>
                  <a:pt x="3436" y="4058"/>
                </a:lnTo>
                <a:lnTo>
                  <a:pt x="3400" y="4093"/>
                </a:lnTo>
                <a:lnTo>
                  <a:pt x="3365" y="4127"/>
                </a:lnTo>
                <a:lnTo>
                  <a:pt x="3329" y="4162"/>
                </a:lnTo>
                <a:lnTo>
                  <a:pt x="3291" y="4194"/>
                </a:lnTo>
                <a:lnTo>
                  <a:pt x="3253" y="4225"/>
                </a:lnTo>
                <a:lnTo>
                  <a:pt x="3213" y="4255"/>
                </a:lnTo>
                <a:lnTo>
                  <a:pt x="3172" y="4284"/>
                </a:lnTo>
                <a:lnTo>
                  <a:pt x="3132" y="4312"/>
                </a:lnTo>
                <a:lnTo>
                  <a:pt x="3089" y="4338"/>
                </a:lnTo>
                <a:lnTo>
                  <a:pt x="3045" y="4364"/>
                </a:lnTo>
                <a:lnTo>
                  <a:pt x="3001" y="4389"/>
                </a:lnTo>
                <a:lnTo>
                  <a:pt x="2955" y="4412"/>
                </a:lnTo>
                <a:lnTo>
                  <a:pt x="2908" y="4435"/>
                </a:lnTo>
                <a:lnTo>
                  <a:pt x="2861" y="4455"/>
                </a:lnTo>
                <a:lnTo>
                  <a:pt x="2813" y="4475"/>
                </a:lnTo>
                <a:lnTo>
                  <a:pt x="2762" y="4494"/>
                </a:lnTo>
                <a:lnTo>
                  <a:pt x="2712" y="4511"/>
                </a:lnTo>
                <a:lnTo>
                  <a:pt x="2661" y="4527"/>
                </a:lnTo>
                <a:lnTo>
                  <a:pt x="2607" y="4542"/>
                </a:lnTo>
                <a:lnTo>
                  <a:pt x="2554" y="4556"/>
                </a:lnTo>
                <a:lnTo>
                  <a:pt x="2499" y="4568"/>
                </a:lnTo>
                <a:lnTo>
                  <a:pt x="2443" y="4578"/>
                </a:lnTo>
                <a:lnTo>
                  <a:pt x="2387" y="4588"/>
                </a:lnTo>
                <a:lnTo>
                  <a:pt x="2329" y="4596"/>
                </a:lnTo>
                <a:lnTo>
                  <a:pt x="2271" y="4604"/>
                </a:lnTo>
                <a:lnTo>
                  <a:pt x="2211" y="4609"/>
                </a:lnTo>
                <a:lnTo>
                  <a:pt x="2150" y="4615"/>
                </a:lnTo>
                <a:lnTo>
                  <a:pt x="2089" y="4618"/>
                </a:lnTo>
                <a:lnTo>
                  <a:pt x="2026" y="4619"/>
                </a:lnTo>
                <a:lnTo>
                  <a:pt x="1963" y="4620"/>
                </a:lnTo>
                <a:lnTo>
                  <a:pt x="1899" y="4619"/>
                </a:lnTo>
                <a:lnTo>
                  <a:pt x="1838" y="4618"/>
                </a:lnTo>
                <a:lnTo>
                  <a:pt x="1777" y="4615"/>
                </a:lnTo>
                <a:lnTo>
                  <a:pt x="1717" y="4610"/>
                </a:lnTo>
                <a:lnTo>
                  <a:pt x="1660" y="4605"/>
                </a:lnTo>
                <a:lnTo>
                  <a:pt x="1602" y="4599"/>
                </a:lnTo>
                <a:lnTo>
                  <a:pt x="1546" y="4591"/>
                </a:lnTo>
                <a:lnTo>
                  <a:pt x="1490" y="4581"/>
                </a:lnTo>
                <a:lnTo>
                  <a:pt x="1437" y="4572"/>
                </a:lnTo>
                <a:lnTo>
                  <a:pt x="1383" y="4561"/>
                </a:lnTo>
                <a:lnTo>
                  <a:pt x="1332" y="4548"/>
                </a:lnTo>
                <a:lnTo>
                  <a:pt x="1281" y="4534"/>
                </a:lnTo>
                <a:lnTo>
                  <a:pt x="1230" y="4519"/>
                </a:lnTo>
                <a:lnTo>
                  <a:pt x="1182" y="4504"/>
                </a:lnTo>
                <a:lnTo>
                  <a:pt x="1134" y="4487"/>
                </a:lnTo>
                <a:lnTo>
                  <a:pt x="1088" y="4468"/>
                </a:lnTo>
                <a:lnTo>
                  <a:pt x="1042" y="4449"/>
                </a:lnTo>
                <a:lnTo>
                  <a:pt x="997" y="4428"/>
                </a:lnTo>
                <a:lnTo>
                  <a:pt x="953" y="4407"/>
                </a:lnTo>
                <a:lnTo>
                  <a:pt x="910" y="4384"/>
                </a:lnTo>
                <a:lnTo>
                  <a:pt x="868" y="4361"/>
                </a:lnTo>
                <a:lnTo>
                  <a:pt x="828" y="4336"/>
                </a:lnTo>
                <a:lnTo>
                  <a:pt x="788" y="4311"/>
                </a:lnTo>
                <a:lnTo>
                  <a:pt x="750" y="4284"/>
                </a:lnTo>
                <a:lnTo>
                  <a:pt x="712" y="4256"/>
                </a:lnTo>
                <a:lnTo>
                  <a:pt x="676" y="4227"/>
                </a:lnTo>
                <a:lnTo>
                  <a:pt x="640" y="4197"/>
                </a:lnTo>
                <a:lnTo>
                  <a:pt x="605" y="4166"/>
                </a:lnTo>
                <a:lnTo>
                  <a:pt x="572" y="4134"/>
                </a:lnTo>
                <a:lnTo>
                  <a:pt x="539" y="4101"/>
                </a:lnTo>
                <a:lnTo>
                  <a:pt x="508" y="4066"/>
                </a:lnTo>
                <a:lnTo>
                  <a:pt x="477" y="4030"/>
                </a:lnTo>
                <a:lnTo>
                  <a:pt x="447" y="3994"/>
                </a:lnTo>
                <a:lnTo>
                  <a:pt x="419" y="3956"/>
                </a:lnTo>
                <a:lnTo>
                  <a:pt x="391" y="3918"/>
                </a:lnTo>
                <a:lnTo>
                  <a:pt x="364" y="3878"/>
                </a:lnTo>
                <a:lnTo>
                  <a:pt x="338" y="3837"/>
                </a:lnTo>
                <a:lnTo>
                  <a:pt x="313" y="3795"/>
                </a:lnTo>
                <a:lnTo>
                  <a:pt x="289" y="3752"/>
                </a:lnTo>
                <a:lnTo>
                  <a:pt x="267" y="3708"/>
                </a:lnTo>
                <a:lnTo>
                  <a:pt x="244" y="3663"/>
                </a:lnTo>
                <a:lnTo>
                  <a:pt x="224" y="3616"/>
                </a:lnTo>
                <a:lnTo>
                  <a:pt x="204" y="3569"/>
                </a:lnTo>
                <a:lnTo>
                  <a:pt x="184" y="3520"/>
                </a:lnTo>
                <a:lnTo>
                  <a:pt x="166" y="3470"/>
                </a:lnTo>
                <a:lnTo>
                  <a:pt x="149" y="3420"/>
                </a:lnTo>
                <a:lnTo>
                  <a:pt x="133" y="3368"/>
                </a:lnTo>
                <a:lnTo>
                  <a:pt x="118" y="3316"/>
                </a:lnTo>
                <a:lnTo>
                  <a:pt x="104" y="3261"/>
                </a:lnTo>
                <a:lnTo>
                  <a:pt x="90" y="3207"/>
                </a:lnTo>
                <a:lnTo>
                  <a:pt x="77" y="3151"/>
                </a:lnTo>
                <a:lnTo>
                  <a:pt x="66" y="3094"/>
                </a:lnTo>
                <a:lnTo>
                  <a:pt x="56" y="3036"/>
                </a:lnTo>
                <a:lnTo>
                  <a:pt x="46" y="2978"/>
                </a:lnTo>
                <a:lnTo>
                  <a:pt x="37" y="2918"/>
                </a:lnTo>
                <a:lnTo>
                  <a:pt x="29" y="2857"/>
                </a:lnTo>
                <a:lnTo>
                  <a:pt x="23" y="2794"/>
                </a:lnTo>
                <a:lnTo>
                  <a:pt x="16" y="2732"/>
                </a:lnTo>
                <a:lnTo>
                  <a:pt x="11" y="2668"/>
                </a:lnTo>
                <a:lnTo>
                  <a:pt x="7" y="2604"/>
                </a:lnTo>
                <a:lnTo>
                  <a:pt x="3" y="2538"/>
                </a:lnTo>
                <a:lnTo>
                  <a:pt x="1" y="2471"/>
                </a:lnTo>
                <a:lnTo>
                  <a:pt x="0" y="2403"/>
                </a:lnTo>
                <a:lnTo>
                  <a:pt x="0" y="2334"/>
                </a:lnTo>
                <a:lnTo>
                  <a:pt x="0" y="2269"/>
                </a:lnTo>
                <a:lnTo>
                  <a:pt x="1" y="2203"/>
                </a:lnTo>
                <a:lnTo>
                  <a:pt x="4" y="2138"/>
                </a:lnTo>
                <a:lnTo>
                  <a:pt x="8" y="2075"/>
                </a:lnTo>
                <a:lnTo>
                  <a:pt x="12" y="2012"/>
                </a:lnTo>
                <a:lnTo>
                  <a:pt x="17" y="1950"/>
                </a:lnTo>
                <a:lnTo>
                  <a:pt x="24" y="1889"/>
                </a:lnTo>
                <a:lnTo>
                  <a:pt x="31" y="1828"/>
                </a:lnTo>
                <a:lnTo>
                  <a:pt x="40" y="1769"/>
                </a:lnTo>
                <a:lnTo>
                  <a:pt x="49" y="1709"/>
                </a:lnTo>
                <a:lnTo>
                  <a:pt x="60" y="1651"/>
                </a:lnTo>
                <a:lnTo>
                  <a:pt x="72" y="1593"/>
                </a:lnTo>
                <a:lnTo>
                  <a:pt x="84" y="1536"/>
                </a:lnTo>
                <a:lnTo>
                  <a:pt x="98" y="1481"/>
                </a:lnTo>
                <a:lnTo>
                  <a:pt x="113" y="1425"/>
                </a:lnTo>
                <a:lnTo>
                  <a:pt x="128" y="1370"/>
                </a:lnTo>
                <a:lnTo>
                  <a:pt x="145" y="1317"/>
                </a:lnTo>
                <a:lnTo>
                  <a:pt x="162" y="1264"/>
                </a:lnTo>
                <a:lnTo>
                  <a:pt x="180" y="1212"/>
                </a:lnTo>
                <a:lnTo>
                  <a:pt x="200" y="1162"/>
                </a:lnTo>
                <a:lnTo>
                  <a:pt x="221" y="1112"/>
                </a:lnTo>
                <a:lnTo>
                  <a:pt x="242" y="1063"/>
                </a:lnTo>
                <a:lnTo>
                  <a:pt x="265" y="1016"/>
                </a:lnTo>
                <a:lnTo>
                  <a:pt x="288" y="969"/>
                </a:lnTo>
                <a:lnTo>
                  <a:pt x="313" y="924"/>
                </a:lnTo>
                <a:lnTo>
                  <a:pt x="338" y="879"/>
                </a:lnTo>
                <a:lnTo>
                  <a:pt x="365" y="835"/>
                </a:lnTo>
                <a:lnTo>
                  <a:pt x="393" y="793"/>
                </a:lnTo>
                <a:lnTo>
                  <a:pt x="422" y="752"/>
                </a:lnTo>
                <a:lnTo>
                  <a:pt x="451" y="711"/>
                </a:lnTo>
                <a:lnTo>
                  <a:pt x="482" y="671"/>
                </a:lnTo>
                <a:lnTo>
                  <a:pt x="513" y="633"/>
                </a:lnTo>
                <a:lnTo>
                  <a:pt x="546" y="596"/>
                </a:lnTo>
                <a:lnTo>
                  <a:pt x="579" y="560"/>
                </a:lnTo>
                <a:lnTo>
                  <a:pt x="614" y="525"/>
                </a:lnTo>
                <a:lnTo>
                  <a:pt x="649" y="490"/>
                </a:lnTo>
                <a:lnTo>
                  <a:pt x="686" y="457"/>
                </a:lnTo>
                <a:lnTo>
                  <a:pt x="724" y="425"/>
                </a:lnTo>
                <a:lnTo>
                  <a:pt x="762" y="394"/>
                </a:lnTo>
                <a:lnTo>
                  <a:pt x="802" y="364"/>
                </a:lnTo>
                <a:lnTo>
                  <a:pt x="843" y="335"/>
                </a:lnTo>
                <a:lnTo>
                  <a:pt x="884" y="308"/>
                </a:lnTo>
                <a:lnTo>
                  <a:pt x="926" y="282"/>
                </a:lnTo>
                <a:lnTo>
                  <a:pt x="970" y="256"/>
                </a:lnTo>
                <a:lnTo>
                  <a:pt x="1015" y="231"/>
                </a:lnTo>
                <a:lnTo>
                  <a:pt x="1061" y="208"/>
                </a:lnTo>
                <a:lnTo>
                  <a:pt x="1107" y="185"/>
                </a:lnTo>
                <a:lnTo>
                  <a:pt x="1155" y="165"/>
                </a:lnTo>
                <a:lnTo>
                  <a:pt x="1203" y="145"/>
                </a:lnTo>
                <a:lnTo>
                  <a:pt x="1253" y="126"/>
                </a:lnTo>
                <a:lnTo>
                  <a:pt x="1303" y="109"/>
                </a:lnTo>
                <a:lnTo>
                  <a:pt x="1354" y="93"/>
                </a:lnTo>
                <a:lnTo>
                  <a:pt x="1408" y="78"/>
                </a:lnTo>
                <a:lnTo>
                  <a:pt x="1462" y="64"/>
                </a:lnTo>
                <a:lnTo>
                  <a:pt x="1516" y="52"/>
                </a:lnTo>
                <a:lnTo>
                  <a:pt x="1571" y="42"/>
                </a:lnTo>
                <a:lnTo>
                  <a:pt x="1627" y="32"/>
                </a:lnTo>
                <a:lnTo>
                  <a:pt x="1685" y="24"/>
                </a:lnTo>
                <a:lnTo>
                  <a:pt x="1744" y="16"/>
                </a:lnTo>
                <a:lnTo>
                  <a:pt x="1804" y="11"/>
                </a:lnTo>
                <a:lnTo>
                  <a:pt x="1864" y="5"/>
                </a:lnTo>
                <a:lnTo>
                  <a:pt x="1926" y="2"/>
                </a:lnTo>
                <a:lnTo>
                  <a:pt x="1988" y="1"/>
                </a:lnTo>
                <a:lnTo>
                  <a:pt x="2053" y="0"/>
                </a:lnTo>
                <a:lnTo>
                  <a:pt x="2114" y="1"/>
                </a:lnTo>
                <a:lnTo>
                  <a:pt x="2175" y="2"/>
                </a:lnTo>
                <a:lnTo>
                  <a:pt x="2235" y="5"/>
                </a:lnTo>
                <a:lnTo>
                  <a:pt x="2292" y="10"/>
                </a:lnTo>
                <a:lnTo>
                  <a:pt x="2350" y="15"/>
                </a:lnTo>
                <a:lnTo>
                  <a:pt x="2407" y="21"/>
                </a:lnTo>
                <a:lnTo>
                  <a:pt x="2463" y="29"/>
                </a:lnTo>
                <a:lnTo>
                  <a:pt x="2517" y="37"/>
                </a:lnTo>
                <a:lnTo>
                  <a:pt x="2571" y="47"/>
                </a:lnTo>
                <a:lnTo>
                  <a:pt x="2623" y="58"/>
                </a:lnTo>
                <a:lnTo>
                  <a:pt x="2675" y="71"/>
                </a:lnTo>
                <a:lnTo>
                  <a:pt x="2725" y="84"/>
                </a:lnTo>
                <a:lnTo>
                  <a:pt x="2774" y="99"/>
                </a:lnTo>
                <a:lnTo>
                  <a:pt x="2822" y="115"/>
                </a:lnTo>
                <a:lnTo>
                  <a:pt x="2870" y="131"/>
                </a:lnTo>
                <a:lnTo>
                  <a:pt x="2916" y="149"/>
                </a:lnTo>
                <a:lnTo>
                  <a:pt x="2961" y="168"/>
                </a:lnTo>
                <a:lnTo>
                  <a:pt x="3006" y="188"/>
                </a:lnTo>
                <a:lnTo>
                  <a:pt x="3050" y="210"/>
                </a:lnTo>
                <a:lnTo>
                  <a:pt x="3092" y="232"/>
                </a:lnTo>
                <a:lnTo>
                  <a:pt x="3134" y="256"/>
                </a:lnTo>
                <a:lnTo>
                  <a:pt x="3175" y="281"/>
                </a:lnTo>
                <a:lnTo>
                  <a:pt x="3214" y="306"/>
                </a:lnTo>
                <a:lnTo>
                  <a:pt x="3253" y="333"/>
                </a:lnTo>
                <a:lnTo>
                  <a:pt x="3291" y="361"/>
                </a:lnTo>
                <a:lnTo>
                  <a:pt x="3328" y="390"/>
                </a:lnTo>
                <a:lnTo>
                  <a:pt x="3363" y="420"/>
                </a:lnTo>
                <a:lnTo>
                  <a:pt x="3398" y="451"/>
                </a:lnTo>
                <a:lnTo>
                  <a:pt x="3433" y="482"/>
                </a:lnTo>
                <a:lnTo>
                  <a:pt x="3466" y="515"/>
                </a:lnTo>
                <a:lnTo>
                  <a:pt x="3497" y="549"/>
                </a:lnTo>
                <a:lnTo>
                  <a:pt x="3529" y="585"/>
                </a:lnTo>
                <a:lnTo>
                  <a:pt x="3559" y="621"/>
                </a:lnTo>
                <a:lnTo>
                  <a:pt x="3588" y="658"/>
                </a:lnTo>
                <a:lnTo>
                  <a:pt x="3616" y="697"/>
                </a:lnTo>
                <a:lnTo>
                  <a:pt x="3643" y="737"/>
                </a:lnTo>
                <a:lnTo>
                  <a:pt x="3669" y="776"/>
                </a:lnTo>
                <a:lnTo>
                  <a:pt x="3695" y="818"/>
                </a:lnTo>
                <a:lnTo>
                  <a:pt x="3718" y="861"/>
                </a:lnTo>
                <a:lnTo>
                  <a:pt x="3742" y="905"/>
                </a:lnTo>
                <a:lnTo>
                  <a:pt x="3764" y="950"/>
                </a:lnTo>
                <a:lnTo>
                  <a:pt x="3786" y="995"/>
                </a:lnTo>
                <a:lnTo>
                  <a:pt x="3806" y="1042"/>
                </a:lnTo>
                <a:lnTo>
                  <a:pt x="3825" y="1090"/>
                </a:lnTo>
                <a:lnTo>
                  <a:pt x="3844" y="1139"/>
                </a:lnTo>
                <a:lnTo>
                  <a:pt x="3861" y="1190"/>
                </a:lnTo>
                <a:lnTo>
                  <a:pt x="3878" y="1240"/>
                </a:lnTo>
                <a:lnTo>
                  <a:pt x="3893" y="1292"/>
                </a:lnTo>
                <a:lnTo>
                  <a:pt x="3908" y="1346"/>
                </a:lnTo>
                <a:lnTo>
                  <a:pt x="3921" y="1399"/>
                </a:lnTo>
                <a:lnTo>
                  <a:pt x="3934" y="1455"/>
                </a:lnTo>
                <a:lnTo>
                  <a:pt x="3945" y="1511"/>
                </a:lnTo>
                <a:lnTo>
                  <a:pt x="3956" y="1567"/>
                </a:lnTo>
                <a:lnTo>
                  <a:pt x="3966" y="1625"/>
                </a:lnTo>
                <a:lnTo>
                  <a:pt x="3974" y="1684"/>
                </a:lnTo>
                <a:lnTo>
                  <a:pt x="3983" y="1744"/>
                </a:lnTo>
                <a:lnTo>
                  <a:pt x="3989" y="1805"/>
                </a:lnTo>
                <a:lnTo>
                  <a:pt x="3996" y="1867"/>
                </a:lnTo>
                <a:lnTo>
                  <a:pt x="4001" y="1930"/>
                </a:lnTo>
                <a:lnTo>
                  <a:pt x="4005" y="1994"/>
                </a:lnTo>
                <a:lnTo>
                  <a:pt x="4009" y="2059"/>
                </a:lnTo>
                <a:lnTo>
                  <a:pt x="4011" y="2124"/>
                </a:lnTo>
                <a:lnTo>
                  <a:pt x="4012" y="2191"/>
                </a:lnTo>
                <a:lnTo>
                  <a:pt x="4013" y="2258"/>
                </a:lnTo>
                <a:close/>
                <a:moveTo>
                  <a:pt x="3384" y="2300"/>
                </a:moveTo>
                <a:lnTo>
                  <a:pt x="3383" y="2253"/>
                </a:lnTo>
                <a:lnTo>
                  <a:pt x="3383" y="2206"/>
                </a:lnTo>
                <a:lnTo>
                  <a:pt x="3381" y="2158"/>
                </a:lnTo>
                <a:lnTo>
                  <a:pt x="3380" y="2112"/>
                </a:lnTo>
                <a:lnTo>
                  <a:pt x="3377" y="2066"/>
                </a:lnTo>
                <a:lnTo>
                  <a:pt x="3375" y="2021"/>
                </a:lnTo>
                <a:lnTo>
                  <a:pt x="3372" y="1976"/>
                </a:lnTo>
                <a:lnTo>
                  <a:pt x="3367" y="1932"/>
                </a:lnTo>
                <a:lnTo>
                  <a:pt x="3363" y="1888"/>
                </a:lnTo>
                <a:lnTo>
                  <a:pt x="3358" y="1844"/>
                </a:lnTo>
                <a:lnTo>
                  <a:pt x="3352" y="1801"/>
                </a:lnTo>
                <a:lnTo>
                  <a:pt x="3346" y="1758"/>
                </a:lnTo>
                <a:lnTo>
                  <a:pt x="3339" y="1715"/>
                </a:lnTo>
                <a:lnTo>
                  <a:pt x="3332" y="1673"/>
                </a:lnTo>
                <a:lnTo>
                  <a:pt x="3324" y="1632"/>
                </a:lnTo>
                <a:lnTo>
                  <a:pt x="3317" y="1591"/>
                </a:lnTo>
                <a:lnTo>
                  <a:pt x="3307" y="1550"/>
                </a:lnTo>
                <a:lnTo>
                  <a:pt x="3299" y="1510"/>
                </a:lnTo>
                <a:lnTo>
                  <a:pt x="3288" y="1471"/>
                </a:lnTo>
                <a:lnTo>
                  <a:pt x="3277" y="1433"/>
                </a:lnTo>
                <a:lnTo>
                  <a:pt x="3266" y="1394"/>
                </a:lnTo>
                <a:lnTo>
                  <a:pt x="3254" y="1357"/>
                </a:lnTo>
                <a:lnTo>
                  <a:pt x="3241" y="1320"/>
                </a:lnTo>
                <a:lnTo>
                  <a:pt x="3227" y="1285"/>
                </a:lnTo>
                <a:lnTo>
                  <a:pt x="3212" y="1249"/>
                </a:lnTo>
                <a:lnTo>
                  <a:pt x="3197" y="1215"/>
                </a:lnTo>
                <a:lnTo>
                  <a:pt x="3181" y="1181"/>
                </a:lnTo>
                <a:lnTo>
                  <a:pt x="3165" y="1148"/>
                </a:lnTo>
                <a:lnTo>
                  <a:pt x="3148" y="1115"/>
                </a:lnTo>
                <a:lnTo>
                  <a:pt x="3130" y="1084"/>
                </a:lnTo>
                <a:lnTo>
                  <a:pt x="3111" y="1052"/>
                </a:lnTo>
                <a:lnTo>
                  <a:pt x="3092" y="1021"/>
                </a:lnTo>
                <a:lnTo>
                  <a:pt x="3072" y="991"/>
                </a:lnTo>
                <a:lnTo>
                  <a:pt x="3050" y="963"/>
                </a:lnTo>
                <a:lnTo>
                  <a:pt x="3029" y="935"/>
                </a:lnTo>
                <a:lnTo>
                  <a:pt x="3006" y="908"/>
                </a:lnTo>
                <a:lnTo>
                  <a:pt x="2983" y="881"/>
                </a:lnTo>
                <a:lnTo>
                  <a:pt x="2958" y="855"/>
                </a:lnTo>
                <a:lnTo>
                  <a:pt x="2933" y="831"/>
                </a:lnTo>
                <a:lnTo>
                  <a:pt x="2907" y="806"/>
                </a:lnTo>
                <a:lnTo>
                  <a:pt x="2880" y="784"/>
                </a:lnTo>
                <a:lnTo>
                  <a:pt x="2852" y="761"/>
                </a:lnTo>
                <a:lnTo>
                  <a:pt x="2824" y="740"/>
                </a:lnTo>
                <a:lnTo>
                  <a:pt x="2796" y="719"/>
                </a:lnTo>
                <a:lnTo>
                  <a:pt x="2766" y="699"/>
                </a:lnTo>
                <a:lnTo>
                  <a:pt x="2734" y="681"/>
                </a:lnTo>
                <a:lnTo>
                  <a:pt x="2702" y="663"/>
                </a:lnTo>
                <a:lnTo>
                  <a:pt x="2670" y="646"/>
                </a:lnTo>
                <a:lnTo>
                  <a:pt x="2637" y="628"/>
                </a:lnTo>
                <a:lnTo>
                  <a:pt x="2602" y="614"/>
                </a:lnTo>
                <a:lnTo>
                  <a:pt x="2566" y="600"/>
                </a:lnTo>
                <a:lnTo>
                  <a:pt x="2530" y="586"/>
                </a:lnTo>
                <a:lnTo>
                  <a:pt x="2493" y="574"/>
                </a:lnTo>
                <a:lnTo>
                  <a:pt x="2455" y="563"/>
                </a:lnTo>
                <a:lnTo>
                  <a:pt x="2415" y="552"/>
                </a:lnTo>
                <a:lnTo>
                  <a:pt x="2375" y="544"/>
                </a:lnTo>
                <a:lnTo>
                  <a:pt x="2334" y="536"/>
                </a:lnTo>
                <a:lnTo>
                  <a:pt x="2291" y="529"/>
                </a:lnTo>
                <a:lnTo>
                  <a:pt x="2248" y="524"/>
                </a:lnTo>
                <a:lnTo>
                  <a:pt x="2205" y="518"/>
                </a:lnTo>
                <a:lnTo>
                  <a:pt x="2160" y="515"/>
                </a:lnTo>
                <a:lnTo>
                  <a:pt x="2114" y="512"/>
                </a:lnTo>
                <a:lnTo>
                  <a:pt x="2066" y="511"/>
                </a:lnTo>
                <a:lnTo>
                  <a:pt x="2018" y="510"/>
                </a:lnTo>
                <a:lnTo>
                  <a:pt x="1970" y="511"/>
                </a:lnTo>
                <a:lnTo>
                  <a:pt x="1923" y="513"/>
                </a:lnTo>
                <a:lnTo>
                  <a:pt x="1877" y="515"/>
                </a:lnTo>
                <a:lnTo>
                  <a:pt x="1832" y="519"/>
                </a:lnTo>
                <a:lnTo>
                  <a:pt x="1787" y="525"/>
                </a:lnTo>
                <a:lnTo>
                  <a:pt x="1744" y="531"/>
                </a:lnTo>
                <a:lnTo>
                  <a:pt x="1702" y="539"/>
                </a:lnTo>
                <a:lnTo>
                  <a:pt x="1661" y="546"/>
                </a:lnTo>
                <a:lnTo>
                  <a:pt x="1620" y="557"/>
                </a:lnTo>
                <a:lnTo>
                  <a:pt x="1581" y="567"/>
                </a:lnTo>
                <a:lnTo>
                  <a:pt x="1543" y="579"/>
                </a:lnTo>
                <a:lnTo>
                  <a:pt x="1505" y="592"/>
                </a:lnTo>
                <a:lnTo>
                  <a:pt x="1469" y="606"/>
                </a:lnTo>
                <a:lnTo>
                  <a:pt x="1434" y="622"/>
                </a:lnTo>
                <a:lnTo>
                  <a:pt x="1399" y="638"/>
                </a:lnTo>
                <a:lnTo>
                  <a:pt x="1366" y="655"/>
                </a:lnTo>
                <a:lnTo>
                  <a:pt x="1333" y="675"/>
                </a:lnTo>
                <a:lnTo>
                  <a:pt x="1302" y="694"/>
                </a:lnTo>
                <a:lnTo>
                  <a:pt x="1271" y="714"/>
                </a:lnTo>
                <a:lnTo>
                  <a:pt x="1240" y="734"/>
                </a:lnTo>
                <a:lnTo>
                  <a:pt x="1211" y="756"/>
                </a:lnTo>
                <a:lnTo>
                  <a:pt x="1182" y="778"/>
                </a:lnTo>
                <a:lnTo>
                  <a:pt x="1154" y="802"/>
                </a:lnTo>
                <a:lnTo>
                  <a:pt x="1127" y="825"/>
                </a:lnTo>
                <a:lnTo>
                  <a:pt x="1101" y="850"/>
                </a:lnTo>
                <a:lnTo>
                  <a:pt x="1075" y="876"/>
                </a:lnTo>
                <a:lnTo>
                  <a:pt x="1050" y="902"/>
                </a:lnTo>
                <a:lnTo>
                  <a:pt x="1027" y="928"/>
                </a:lnTo>
                <a:lnTo>
                  <a:pt x="1003" y="956"/>
                </a:lnTo>
                <a:lnTo>
                  <a:pt x="981" y="985"/>
                </a:lnTo>
                <a:lnTo>
                  <a:pt x="959" y="1014"/>
                </a:lnTo>
                <a:lnTo>
                  <a:pt x="938" y="1044"/>
                </a:lnTo>
                <a:lnTo>
                  <a:pt x="918" y="1075"/>
                </a:lnTo>
                <a:lnTo>
                  <a:pt x="898" y="1106"/>
                </a:lnTo>
                <a:lnTo>
                  <a:pt x="880" y="1138"/>
                </a:lnTo>
                <a:lnTo>
                  <a:pt x="862" y="1170"/>
                </a:lnTo>
                <a:lnTo>
                  <a:pt x="844" y="1205"/>
                </a:lnTo>
                <a:lnTo>
                  <a:pt x="828" y="1238"/>
                </a:lnTo>
                <a:lnTo>
                  <a:pt x="812" y="1272"/>
                </a:lnTo>
                <a:lnTo>
                  <a:pt x="797" y="1307"/>
                </a:lnTo>
                <a:lnTo>
                  <a:pt x="782" y="1344"/>
                </a:lnTo>
                <a:lnTo>
                  <a:pt x="769" y="1380"/>
                </a:lnTo>
                <a:lnTo>
                  <a:pt x="755" y="1417"/>
                </a:lnTo>
                <a:lnTo>
                  <a:pt x="743" y="1454"/>
                </a:lnTo>
                <a:lnTo>
                  <a:pt x="731" y="1493"/>
                </a:lnTo>
                <a:lnTo>
                  <a:pt x="721" y="1531"/>
                </a:lnTo>
                <a:lnTo>
                  <a:pt x="711" y="1571"/>
                </a:lnTo>
                <a:lnTo>
                  <a:pt x="701" y="1611"/>
                </a:lnTo>
                <a:lnTo>
                  <a:pt x="693" y="1652"/>
                </a:lnTo>
                <a:lnTo>
                  <a:pt x="685" y="1693"/>
                </a:lnTo>
                <a:lnTo>
                  <a:pt x="678" y="1735"/>
                </a:lnTo>
                <a:lnTo>
                  <a:pt x="670" y="1775"/>
                </a:lnTo>
                <a:lnTo>
                  <a:pt x="664" y="1817"/>
                </a:lnTo>
                <a:lnTo>
                  <a:pt x="659" y="1859"/>
                </a:lnTo>
                <a:lnTo>
                  <a:pt x="653" y="1902"/>
                </a:lnTo>
                <a:lnTo>
                  <a:pt x="648" y="1944"/>
                </a:lnTo>
                <a:lnTo>
                  <a:pt x="645" y="1987"/>
                </a:lnTo>
                <a:lnTo>
                  <a:pt x="640" y="2030"/>
                </a:lnTo>
                <a:lnTo>
                  <a:pt x="637" y="2073"/>
                </a:lnTo>
                <a:lnTo>
                  <a:pt x="635" y="2117"/>
                </a:lnTo>
                <a:lnTo>
                  <a:pt x="633" y="2161"/>
                </a:lnTo>
                <a:lnTo>
                  <a:pt x="632" y="2205"/>
                </a:lnTo>
                <a:lnTo>
                  <a:pt x="631" y="2248"/>
                </a:lnTo>
                <a:lnTo>
                  <a:pt x="631" y="2292"/>
                </a:lnTo>
                <a:lnTo>
                  <a:pt x="631" y="2342"/>
                </a:lnTo>
                <a:lnTo>
                  <a:pt x="632" y="2391"/>
                </a:lnTo>
                <a:lnTo>
                  <a:pt x="633" y="2439"/>
                </a:lnTo>
                <a:lnTo>
                  <a:pt x="635" y="2486"/>
                </a:lnTo>
                <a:lnTo>
                  <a:pt x="637" y="2533"/>
                </a:lnTo>
                <a:lnTo>
                  <a:pt x="640" y="2580"/>
                </a:lnTo>
                <a:lnTo>
                  <a:pt x="644" y="2626"/>
                </a:lnTo>
                <a:lnTo>
                  <a:pt x="647" y="2672"/>
                </a:lnTo>
                <a:lnTo>
                  <a:pt x="652" y="2717"/>
                </a:lnTo>
                <a:lnTo>
                  <a:pt x="656" y="2762"/>
                </a:lnTo>
                <a:lnTo>
                  <a:pt x="662" y="2807"/>
                </a:lnTo>
                <a:lnTo>
                  <a:pt x="668" y="2850"/>
                </a:lnTo>
                <a:lnTo>
                  <a:pt x="675" y="2894"/>
                </a:lnTo>
                <a:lnTo>
                  <a:pt x="681" y="2937"/>
                </a:lnTo>
                <a:lnTo>
                  <a:pt x="689" y="2979"/>
                </a:lnTo>
                <a:lnTo>
                  <a:pt x="697" y="3020"/>
                </a:lnTo>
                <a:lnTo>
                  <a:pt x="706" y="3062"/>
                </a:lnTo>
                <a:lnTo>
                  <a:pt x="714" y="3103"/>
                </a:lnTo>
                <a:lnTo>
                  <a:pt x="725" y="3142"/>
                </a:lnTo>
                <a:lnTo>
                  <a:pt x="736" y="3182"/>
                </a:lnTo>
                <a:lnTo>
                  <a:pt x="747" y="3221"/>
                </a:lnTo>
                <a:lnTo>
                  <a:pt x="759" y="3258"/>
                </a:lnTo>
                <a:lnTo>
                  <a:pt x="772" y="3294"/>
                </a:lnTo>
                <a:lnTo>
                  <a:pt x="785" y="3331"/>
                </a:lnTo>
                <a:lnTo>
                  <a:pt x="800" y="3366"/>
                </a:lnTo>
                <a:lnTo>
                  <a:pt x="815" y="3402"/>
                </a:lnTo>
                <a:lnTo>
                  <a:pt x="830" y="3435"/>
                </a:lnTo>
                <a:lnTo>
                  <a:pt x="846" y="3469"/>
                </a:lnTo>
                <a:lnTo>
                  <a:pt x="863" y="3501"/>
                </a:lnTo>
                <a:lnTo>
                  <a:pt x="881" y="3533"/>
                </a:lnTo>
                <a:lnTo>
                  <a:pt x="899" y="3564"/>
                </a:lnTo>
                <a:lnTo>
                  <a:pt x="919" y="3595"/>
                </a:lnTo>
                <a:lnTo>
                  <a:pt x="938" y="3624"/>
                </a:lnTo>
                <a:lnTo>
                  <a:pt x="959" y="3653"/>
                </a:lnTo>
                <a:lnTo>
                  <a:pt x="981" y="3682"/>
                </a:lnTo>
                <a:lnTo>
                  <a:pt x="1003" y="3709"/>
                </a:lnTo>
                <a:lnTo>
                  <a:pt x="1026" y="3736"/>
                </a:lnTo>
                <a:lnTo>
                  <a:pt x="1050" y="3760"/>
                </a:lnTo>
                <a:lnTo>
                  <a:pt x="1075" y="3785"/>
                </a:lnTo>
                <a:lnTo>
                  <a:pt x="1101" y="3809"/>
                </a:lnTo>
                <a:lnTo>
                  <a:pt x="1127" y="3832"/>
                </a:lnTo>
                <a:lnTo>
                  <a:pt x="1155" y="3854"/>
                </a:lnTo>
                <a:lnTo>
                  <a:pt x="1183" y="3875"/>
                </a:lnTo>
                <a:lnTo>
                  <a:pt x="1212" y="3896"/>
                </a:lnTo>
                <a:lnTo>
                  <a:pt x="1242" y="3915"/>
                </a:lnTo>
                <a:lnTo>
                  <a:pt x="1272" y="3934"/>
                </a:lnTo>
                <a:lnTo>
                  <a:pt x="1304" y="3952"/>
                </a:lnTo>
                <a:lnTo>
                  <a:pt x="1336" y="3969"/>
                </a:lnTo>
                <a:lnTo>
                  <a:pt x="1369" y="3985"/>
                </a:lnTo>
                <a:lnTo>
                  <a:pt x="1404" y="4000"/>
                </a:lnTo>
                <a:lnTo>
                  <a:pt x="1439" y="4015"/>
                </a:lnTo>
                <a:lnTo>
                  <a:pt x="1475" y="4028"/>
                </a:lnTo>
                <a:lnTo>
                  <a:pt x="1513" y="4040"/>
                </a:lnTo>
                <a:lnTo>
                  <a:pt x="1551" y="4050"/>
                </a:lnTo>
                <a:lnTo>
                  <a:pt x="1591" y="4061"/>
                </a:lnTo>
                <a:lnTo>
                  <a:pt x="1632" y="4070"/>
                </a:lnTo>
                <a:lnTo>
                  <a:pt x="1674" y="4077"/>
                </a:lnTo>
                <a:lnTo>
                  <a:pt x="1716" y="4085"/>
                </a:lnTo>
                <a:lnTo>
                  <a:pt x="1760" y="4090"/>
                </a:lnTo>
                <a:lnTo>
                  <a:pt x="1805" y="4094"/>
                </a:lnTo>
                <a:lnTo>
                  <a:pt x="1850" y="4099"/>
                </a:lnTo>
                <a:lnTo>
                  <a:pt x="1897" y="4101"/>
                </a:lnTo>
                <a:lnTo>
                  <a:pt x="1945" y="4102"/>
                </a:lnTo>
                <a:lnTo>
                  <a:pt x="1995" y="4103"/>
                </a:lnTo>
                <a:lnTo>
                  <a:pt x="2043" y="4102"/>
                </a:lnTo>
                <a:lnTo>
                  <a:pt x="2090" y="4101"/>
                </a:lnTo>
                <a:lnTo>
                  <a:pt x="2136" y="4098"/>
                </a:lnTo>
                <a:lnTo>
                  <a:pt x="2182" y="4093"/>
                </a:lnTo>
                <a:lnTo>
                  <a:pt x="2227" y="4089"/>
                </a:lnTo>
                <a:lnTo>
                  <a:pt x="2270" y="4083"/>
                </a:lnTo>
                <a:lnTo>
                  <a:pt x="2313" y="4075"/>
                </a:lnTo>
                <a:lnTo>
                  <a:pt x="2354" y="4066"/>
                </a:lnTo>
                <a:lnTo>
                  <a:pt x="2395" y="4057"/>
                </a:lnTo>
                <a:lnTo>
                  <a:pt x="2435" y="4046"/>
                </a:lnTo>
                <a:lnTo>
                  <a:pt x="2473" y="4034"/>
                </a:lnTo>
                <a:lnTo>
                  <a:pt x="2512" y="4020"/>
                </a:lnTo>
                <a:lnTo>
                  <a:pt x="2548" y="4006"/>
                </a:lnTo>
                <a:lnTo>
                  <a:pt x="2584" y="3992"/>
                </a:lnTo>
                <a:lnTo>
                  <a:pt x="2619" y="3974"/>
                </a:lnTo>
                <a:lnTo>
                  <a:pt x="2652" y="3957"/>
                </a:lnTo>
                <a:lnTo>
                  <a:pt x="2685" y="3939"/>
                </a:lnTo>
                <a:lnTo>
                  <a:pt x="2717" y="3919"/>
                </a:lnTo>
                <a:lnTo>
                  <a:pt x="2749" y="3899"/>
                </a:lnTo>
                <a:lnTo>
                  <a:pt x="2779" y="3878"/>
                </a:lnTo>
                <a:lnTo>
                  <a:pt x="2809" y="3857"/>
                </a:lnTo>
                <a:lnTo>
                  <a:pt x="2838" y="3833"/>
                </a:lnTo>
                <a:lnTo>
                  <a:pt x="2867" y="3811"/>
                </a:lnTo>
                <a:lnTo>
                  <a:pt x="2894" y="3786"/>
                </a:lnTo>
                <a:lnTo>
                  <a:pt x="2921" y="3761"/>
                </a:lnTo>
                <a:lnTo>
                  <a:pt x="2946" y="3736"/>
                </a:lnTo>
                <a:lnTo>
                  <a:pt x="2971" y="3709"/>
                </a:lnTo>
                <a:lnTo>
                  <a:pt x="2995" y="3681"/>
                </a:lnTo>
                <a:lnTo>
                  <a:pt x="3018" y="3653"/>
                </a:lnTo>
                <a:lnTo>
                  <a:pt x="3041" y="3624"/>
                </a:lnTo>
                <a:lnTo>
                  <a:pt x="3062" y="3594"/>
                </a:lnTo>
                <a:lnTo>
                  <a:pt x="3084" y="3564"/>
                </a:lnTo>
                <a:lnTo>
                  <a:pt x="3103" y="3533"/>
                </a:lnTo>
                <a:lnTo>
                  <a:pt x="3122" y="3501"/>
                </a:lnTo>
                <a:lnTo>
                  <a:pt x="3140" y="3468"/>
                </a:lnTo>
                <a:lnTo>
                  <a:pt x="3158" y="3435"/>
                </a:lnTo>
                <a:lnTo>
                  <a:pt x="3176" y="3402"/>
                </a:lnTo>
                <a:lnTo>
                  <a:pt x="3192" y="3367"/>
                </a:lnTo>
                <a:lnTo>
                  <a:pt x="3208" y="3332"/>
                </a:lnTo>
                <a:lnTo>
                  <a:pt x="3223" y="3297"/>
                </a:lnTo>
                <a:lnTo>
                  <a:pt x="3237" y="3260"/>
                </a:lnTo>
                <a:lnTo>
                  <a:pt x="3251" y="3223"/>
                </a:lnTo>
                <a:lnTo>
                  <a:pt x="3262" y="3185"/>
                </a:lnTo>
                <a:lnTo>
                  <a:pt x="3275" y="3148"/>
                </a:lnTo>
                <a:lnTo>
                  <a:pt x="3286" y="3109"/>
                </a:lnTo>
                <a:lnTo>
                  <a:pt x="3297" y="3070"/>
                </a:lnTo>
                <a:lnTo>
                  <a:pt x="3306" y="3030"/>
                </a:lnTo>
                <a:lnTo>
                  <a:pt x="3316" y="2990"/>
                </a:lnTo>
                <a:lnTo>
                  <a:pt x="3323" y="2949"/>
                </a:lnTo>
                <a:lnTo>
                  <a:pt x="3332" y="2908"/>
                </a:lnTo>
                <a:lnTo>
                  <a:pt x="3338" y="2866"/>
                </a:lnTo>
                <a:lnTo>
                  <a:pt x="3346" y="2824"/>
                </a:lnTo>
                <a:lnTo>
                  <a:pt x="3351" y="2783"/>
                </a:lnTo>
                <a:lnTo>
                  <a:pt x="3358" y="2740"/>
                </a:lnTo>
                <a:lnTo>
                  <a:pt x="3363" y="2697"/>
                </a:lnTo>
                <a:lnTo>
                  <a:pt x="3367" y="2654"/>
                </a:lnTo>
                <a:lnTo>
                  <a:pt x="3370" y="2611"/>
                </a:lnTo>
                <a:lnTo>
                  <a:pt x="3375" y="2567"/>
                </a:lnTo>
                <a:lnTo>
                  <a:pt x="3377" y="2524"/>
                </a:lnTo>
                <a:lnTo>
                  <a:pt x="3380" y="2480"/>
                </a:lnTo>
                <a:lnTo>
                  <a:pt x="3381" y="2435"/>
                </a:lnTo>
                <a:lnTo>
                  <a:pt x="3383" y="2391"/>
                </a:lnTo>
                <a:lnTo>
                  <a:pt x="3383" y="2345"/>
                </a:lnTo>
                <a:lnTo>
                  <a:pt x="3384" y="23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6"/>
          <p:cNvSpPr>
            <a:spLocks/>
          </p:cNvSpPr>
          <p:nvPr/>
        </p:nvSpPr>
        <p:spPr bwMode="auto">
          <a:xfrm>
            <a:off x="4826607" y="3863947"/>
            <a:ext cx="333442" cy="447568"/>
          </a:xfrm>
          <a:custGeom>
            <a:avLst/>
            <a:gdLst>
              <a:gd name="T0" fmla="*/ 3357 w 3357"/>
              <a:gd name="T1" fmla="*/ 288 h 4509"/>
              <a:gd name="T2" fmla="*/ 3353 w 3357"/>
              <a:gd name="T3" fmla="*/ 346 h 4509"/>
              <a:gd name="T4" fmla="*/ 3346 w 3357"/>
              <a:gd name="T5" fmla="*/ 394 h 4509"/>
              <a:gd name="T6" fmla="*/ 3335 w 3357"/>
              <a:gd name="T7" fmla="*/ 433 h 4509"/>
              <a:gd name="T8" fmla="*/ 3318 w 3357"/>
              <a:gd name="T9" fmla="*/ 463 h 4509"/>
              <a:gd name="T10" fmla="*/ 3300 w 3357"/>
              <a:gd name="T11" fmla="*/ 484 h 4509"/>
              <a:gd name="T12" fmla="*/ 3278 w 3357"/>
              <a:gd name="T13" fmla="*/ 499 h 4509"/>
              <a:gd name="T14" fmla="*/ 3252 w 3357"/>
              <a:gd name="T15" fmla="*/ 506 h 4509"/>
              <a:gd name="T16" fmla="*/ 1977 w 3357"/>
              <a:gd name="T17" fmla="*/ 507 h 4509"/>
              <a:gd name="T18" fmla="*/ 1976 w 3357"/>
              <a:gd name="T19" fmla="*/ 4411 h 4509"/>
              <a:gd name="T20" fmla="*/ 1968 w 3357"/>
              <a:gd name="T21" fmla="*/ 4435 h 4509"/>
              <a:gd name="T22" fmla="*/ 1959 w 3357"/>
              <a:gd name="T23" fmla="*/ 4451 h 4509"/>
              <a:gd name="T24" fmla="*/ 1949 w 3357"/>
              <a:gd name="T25" fmla="*/ 4461 h 4509"/>
              <a:gd name="T26" fmla="*/ 1937 w 3357"/>
              <a:gd name="T27" fmla="*/ 4469 h 4509"/>
              <a:gd name="T28" fmla="*/ 1922 w 3357"/>
              <a:gd name="T29" fmla="*/ 4476 h 4509"/>
              <a:gd name="T30" fmla="*/ 1896 w 3357"/>
              <a:gd name="T31" fmla="*/ 4485 h 4509"/>
              <a:gd name="T32" fmla="*/ 1850 w 3357"/>
              <a:gd name="T33" fmla="*/ 4495 h 4509"/>
              <a:gd name="T34" fmla="*/ 1792 w 3357"/>
              <a:gd name="T35" fmla="*/ 4504 h 4509"/>
              <a:gd name="T36" fmla="*/ 1720 w 3357"/>
              <a:gd name="T37" fmla="*/ 4508 h 4509"/>
              <a:gd name="T38" fmla="*/ 1639 w 3357"/>
              <a:gd name="T39" fmla="*/ 4508 h 4509"/>
              <a:gd name="T40" fmla="*/ 1567 w 3357"/>
              <a:gd name="T41" fmla="*/ 4504 h 4509"/>
              <a:gd name="T42" fmla="*/ 1508 w 3357"/>
              <a:gd name="T43" fmla="*/ 4495 h 4509"/>
              <a:gd name="T44" fmla="*/ 1462 w 3357"/>
              <a:gd name="T45" fmla="*/ 4485 h 4509"/>
              <a:gd name="T46" fmla="*/ 1434 w 3357"/>
              <a:gd name="T47" fmla="*/ 4476 h 4509"/>
              <a:gd name="T48" fmla="*/ 1419 w 3357"/>
              <a:gd name="T49" fmla="*/ 4469 h 4509"/>
              <a:gd name="T50" fmla="*/ 1407 w 3357"/>
              <a:gd name="T51" fmla="*/ 4461 h 4509"/>
              <a:gd name="T52" fmla="*/ 1398 w 3357"/>
              <a:gd name="T53" fmla="*/ 4451 h 4509"/>
              <a:gd name="T54" fmla="*/ 1388 w 3357"/>
              <a:gd name="T55" fmla="*/ 4435 h 4509"/>
              <a:gd name="T56" fmla="*/ 1381 w 3357"/>
              <a:gd name="T57" fmla="*/ 4411 h 4509"/>
              <a:gd name="T58" fmla="*/ 1381 w 3357"/>
              <a:gd name="T59" fmla="*/ 507 h 4509"/>
              <a:gd name="T60" fmla="*/ 104 w 3357"/>
              <a:gd name="T61" fmla="*/ 506 h 4509"/>
              <a:gd name="T62" fmla="*/ 79 w 3357"/>
              <a:gd name="T63" fmla="*/ 499 h 4509"/>
              <a:gd name="T64" fmla="*/ 62 w 3357"/>
              <a:gd name="T65" fmla="*/ 489 h 4509"/>
              <a:gd name="T66" fmla="*/ 52 w 3357"/>
              <a:gd name="T67" fmla="*/ 480 h 4509"/>
              <a:gd name="T68" fmla="*/ 38 w 3357"/>
              <a:gd name="T69" fmla="*/ 463 h 4509"/>
              <a:gd name="T70" fmla="*/ 24 w 3357"/>
              <a:gd name="T71" fmla="*/ 433 h 4509"/>
              <a:gd name="T72" fmla="*/ 13 w 3357"/>
              <a:gd name="T73" fmla="*/ 394 h 4509"/>
              <a:gd name="T74" fmla="*/ 5 w 3357"/>
              <a:gd name="T75" fmla="*/ 346 h 4509"/>
              <a:gd name="T76" fmla="*/ 1 w 3357"/>
              <a:gd name="T77" fmla="*/ 288 h 4509"/>
              <a:gd name="T78" fmla="*/ 1 w 3357"/>
              <a:gd name="T79" fmla="*/ 225 h 4509"/>
              <a:gd name="T80" fmla="*/ 5 w 3357"/>
              <a:gd name="T81" fmla="*/ 167 h 4509"/>
              <a:gd name="T82" fmla="*/ 13 w 3357"/>
              <a:gd name="T83" fmla="*/ 117 h 4509"/>
              <a:gd name="T84" fmla="*/ 24 w 3357"/>
              <a:gd name="T85" fmla="*/ 76 h 4509"/>
              <a:gd name="T86" fmla="*/ 38 w 3357"/>
              <a:gd name="T87" fmla="*/ 44 h 4509"/>
              <a:gd name="T88" fmla="*/ 52 w 3357"/>
              <a:gd name="T89" fmla="*/ 27 h 4509"/>
              <a:gd name="T90" fmla="*/ 62 w 3357"/>
              <a:gd name="T91" fmla="*/ 19 h 4509"/>
              <a:gd name="T92" fmla="*/ 79 w 3357"/>
              <a:gd name="T93" fmla="*/ 8 h 4509"/>
              <a:gd name="T94" fmla="*/ 104 w 3357"/>
              <a:gd name="T95" fmla="*/ 1 h 4509"/>
              <a:gd name="T96" fmla="*/ 3238 w 3357"/>
              <a:gd name="T97" fmla="*/ 0 h 4509"/>
              <a:gd name="T98" fmla="*/ 3265 w 3357"/>
              <a:gd name="T99" fmla="*/ 4 h 4509"/>
              <a:gd name="T100" fmla="*/ 3290 w 3357"/>
              <a:gd name="T101" fmla="*/ 14 h 4509"/>
              <a:gd name="T102" fmla="*/ 3310 w 3357"/>
              <a:gd name="T103" fmla="*/ 33 h 4509"/>
              <a:gd name="T104" fmla="*/ 3327 w 3357"/>
              <a:gd name="T105" fmla="*/ 59 h 4509"/>
              <a:gd name="T106" fmla="*/ 3341 w 3357"/>
              <a:gd name="T107" fmla="*/ 95 h 4509"/>
              <a:gd name="T108" fmla="*/ 3350 w 3357"/>
              <a:gd name="T109" fmla="*/ 141 h 4509"/>
              <a:gd name="T110" fmla="*/ 3355 w 3357"/>
              <a:gd name="T111" fmla="*/ 195 h 4509"/>
              <a:gd name="T112" fmla="*/ 3357 w 3357"/>
              <a:gd name="T113" fmla="*/ 257 h 4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4509">
                <a:moveTo>
                  <a:pt x="3357" y="257"/>
                </a:moveTo>
                <a:lnTo>
                  <a:pt x="3357" y="288"/>
                </a:lnTo>
                <a:lnTo>
                  <a:pt x="3355" y="318"/>
                </a:lnTo>
                <a:lnTo>
                  <a:pt x="3353" y="346"/>
                </a:lnTo>
                <a:lnTo>
                  <a:pt x="3350" y="371"/>
                </a:lnTo>
                <a:lnTo>
                  <a:pt x="3346" y="394"/>
                </a:lnTo>
                <a:lnTo>
                  <a:pt x="3341" y="415"/>
                </a:lnTo>
                <a:lnTo>
                  <a:pt x="3335" y="433"/>
                </a:lnTo>
                <a:lnTo>
                  <a:pt x="3327" y="449"/>
                </a:lnTo>
                <a:lnTo>
                  <a:pt x="3318" y="463"/>
                </a:lnTo>
                <a:lnTo>
                  <a:pt x="3310" y="475"/>
                </a:lnTo>
                <a:lnTo>
                  <a:pt x="3300" y="484"/>
                </a:lnTo>
                <a:lnTo>
                  <a:pt x="3290" y="493"/>
                </a:lnTo>
                <a:lnTo>
                  <a:pt x="3278" y="499"/>
                </a:lnTo>
                <a:lnTo>
                  <a:pt x="3265" y="504"/>
                </a:lnTo>
                <a:lnTo>
                  <a:pt x="3252" y="506"/>
                </a:lnTo>
                <a:lnTo>
                  <a:pt x="3238" y="507"/>
                </a:lnTo>
                <a:lnTo>
                  <a:pt x="1977" y="507"/>
                </a:lnTo>
                <a:lnTo>
                  <a:pt x="1977" y="4398"/>
                </a:lnTo>
                <a:lnTo>
                  <a:pt x="1976" y="4411"/>
                </a:lnTo>
                <a:lnTo>
                  <a:pt x="1973" y="4423"/>
                </a:lnTo>
                <a:lnTo>
                  <a:pt x="1968" y="4435"/>
                </a:lnTo>
                <a:lnTo>
                  <a:pt x="1963" y="4446"/>
                </a:lnTo>
                <a:lnTo>
                  <a:pt x="1959" y="4451"/>
                </a:lnTo>
                <a:lnTo>
                  <a:pt x="1954" y="4457"/>
                </a:lnTo>
                <a:lnTo>
                  <a:pt x="1949" y="4461"/>
                </a:lnTo>
                <a:lnTo>
                  <a:pt x="1944" y="4465"/>
                </a:lnTo>
                <a:lnTo>
                  <a:pt x="1937" y="4469"/>
                </a:lnTo>
                <a:lnTo>
                  <a:pt x="1930" y="4473"/>
                </a:lnTo>
                <a:lnTo>
                  <a:pt x="1922" y="4476"/>
                </a:lnTo>
                <a:lnTo>
                  <a:pt x="1914" y="4479"/>
                </a:lnTo>
                <a:lnTo>
                  <a:pt x="1896" y="4485"/>
                </a:lnTo>
                <a:lnTo>
                  <a:pt x="1874" y="4491"/>
                </a:lnTo>
                <a:lnTo>
                  <a:pt x="1850" y="4495"/>
                </a:lnTo>
                <a:lnTo>
                  <a:pt x="1823" y="4499"/>
                </a:lnTo>
                <a:lnTo>
                  <a:pt x="1792" y="4504"/>
                </a:lnTo>
                <a:lnTo>
                  <a:pt x="1757" y="4507"/>
                </a:lnTo>
                <a:lnTo>
                  <a:pt x="1720" y="4508"/>
                </a:lnTo>
                <a:lnTo>
                  <a:pt x="1678" y="4509"/>
                </a:lnTo>
                <a:lnTo>
                  <a:pt x="1639" y="4508"/>
                </a:lnTo>
                <a:lnTo>
                  <a:pt x="1601" y="4507"/>
                </a:lnTo>
                <a:lnTo>
                  <a:pt x="1567" y="4504"/>
                </a:lnTo>
                <a:lnTo>
                  <a:pt x="1537" y="4499"/>
                </a:lnTo>
                <a:lnTo>
                  <a:pt x="1508" y="4495"/>
                </a:lnTo>
                <a:lnTo>
                  <a:pt x="1483" y="4491"/>
                </a:lnTo>
                <a:lnTo>
                  <a:pt x="1462" y="4485"/>
                </a:lnTo>
                <a:lnTo>
                  <a:pt x="1443" y="4479"/>
                </a:lnTo>
                <a:lnTo>
                  <a:pt x="1434" y="4476"/>
                </a:lnTo>
                <a:lnTo>
                  <a:pt x="1427" y="4473"/>
                </a:lnTo>
                <a:lnTo>
                  <a:pt x="1419" y="4469"/>
                </a:lnTo>
                <a:lnTo>
                  <a:pt x="1414" y="4465"/>
                </a:lnTo>
                <a:lnTo>
                  <a:pt x="1407" y="4461"/>
                </a:lnTo>
                <a:lnTo>
                  <a:pt x="1403" y="4457"/>
                </a:lnTo>
                <a:lnTo>
                  <a:pt x="1398" y="4451"/>
                </a:lnTo>
                <a:lnTo>
                  <a:pt x="1395" y="4446"/>
                </a:lnTo>
                <a:lnTo>
                  <a:pt x="1388" y="4435"/>
                </a:lnTo>
                <a:lnTo>
                  <a:pt x="1384" y="4423"/>
                </a:lnTo>
                <a:lnTo>
                  <a:pt x="1381" y="4411"/>
                </a:lnTo>
                <a:lnTo>
                  <a:pt x="1381" y="4398"/>
                </a:lnTo>
                <a:lnTo>
                  <a:pt x="1381" y="507"/>
                </a:lnTo>
                <a:lnTo>
                  <a:pt x="118" y="507"/>
                </a:lnTo>
                <a:lnTo>
                  <a:pt x="104" y="506"/>
                </a:lnTo>
                <a:lnTo>
                  <a:pt x="92" y="504"/>
                </a:lnTo>
                <a:lnTo>
                  <a:pt x="79" y="499"/>
                </a:lnTo>
                <a:lnTo>
                  <a:pt x="67" y="493"/>
                </a:lnTo>
                <a:lnTo>
                  <a:pt x="62" y="489"/>
                </a:lnTo>
                <a:lnTo>
                  <a:pt x="56" y="484"/>
                </a:lnTo>
                <a:lnTo>
                  <a:pt x="52" y="480"/>
                </a:lnTo>
                <a:lnTo>
                  <a:pt x="47" y="475"/>
                </a:lnTo>
                <a:lnTo>
                  <a:pt x="38" y="463"/>
                </a:lnTo>
                <a:lnTo>
                  <a:pt x="31" y="449"/>
                </a:lnTo>
                <a:lnTo>
                  <a:pt x="24" y="433"/>
                </a:lnTo>
                <a:lnTo>
                  <a:pt x="19" y="415"/>
                </a:lnTo>
                <a:lnTo>
                  <a:pt x="13" y="394"/>
                </a:lnTo>
                <a:lnTo>
                  <a:pt x="8" y="371"/>
                </a:lnTo>
                <a:lnTo>
                  <a:pt x="5" y="346"/>
                </a:lnTo>
                <a:lnTo>
                  <a:pt x="2" y="318"/>
                </a:lnTo>
                <a:lnTo>
                  <a:pt x="1" y="288"/>
                </a:lnTo>
                <a:lnTo>
                  <a:pt x="0" y="257"/>
                </a:lnTo>
                <a:lnTo>
                  <a:pt x="1" y="225"/>
                </a:lnTo>
                <a:lnTo>
                  <a:pt x="2" y="195"/>
                </a:lnTo>
                <a:lnTo>
                  <a:pt x="5" y="167"/>
                </a:lnTo>
                <a:lnTo>
                  <a:pt x="8" y="141"/>
                </a:lnTo>
                <a:lnTo>
                  <a:pt x="13" y="117"/>
                </a:lnTo>
                <a:lnTo>
                  <a:pt x="19" y="95"/>
                </a:lnTo>
                <a:lnTo>
                  <a:pt x="24" y="76"/>
                </a:lnTo>
                <a:lnTo>
                  <a:pt x="31" y="59"/>
                </a:lnTo>
                <a:lnTo>
                  <a:pt x="38" y="44"/>
                </a:lnTo>
                <a:lnTo>
                  <a:pt x="47" y="33"/>
                </a:lnTo>
                <a:lnTo>
                  <a:pt x="52" y="27"/>
                </a:lnTo>
                <a:lnTo>
                  <a:pt x="56" y="23"/>
                </a:lnTo>
                <a:lnTo>
                  <a:pt x="62" y="19"/>
                </a:lnTo>
                <a:lnTo>
                  <a:pt x="67" y="14"/>
                </a:lnTo>
                <a:lnTo>
                  <a:pt x="79" y="8"/>
                </a:lnTo>
                <a:lnTo>
                  <a:pt x="92" y="4"/>
                </a:lnTo>
                <a:lnTo>
                  <a:pt x="104" y="1"/>
                </a:lnTo>
                <a:lnTo>
                  <a:pt x="118" y="0"/>
                </a:lnTo>
                <a:lnTo>
                  <a:pt x="3238" y="0"/>
                </a:lnTo>
                <a:lnTo>
                  <a:pt x="3252" y="1"/>
                </a:lnTo>
                <a:lnTo>
                  <a:pt x="3265" y="4"/>
                </a:lnTo>
                <a:lnTo>
                  <a:pt x="3278" y="8"/>
                </a:lnTo>
                <a:lnTo>
                  <a:pt x="3290" y="14"/>
                </a:lnTo>
                <a:lnTo>
                  <a:pt x="3300" y="23"/>
                </a:lnTo>
                <a:lnTo>
                  <a:pt x="3310" y="33"/>
                </a:lnTo>
                <a:lnTo>
                  <a:pt x="3318" y="44"/>
                </a:lnTo>
                <a:lnTo>
                  <a:pt x="3327" y="59"/>
                </a:lnTo>
                <a:lnTo>
                  <a:pt x="3335" y="76"/>
                </a:lnTo>
                <a:lnTo>
                  <a:pt x="3341" y="95"/>
                </a:lnTo>
                <a:lnTo>
                  <a:pt x="3346" y="117"/>
                </a:lnTo>
                <a:lnTo>
                  <a:pt x="3350" y="141"/>
                </a:lnTo>
                <a:lnTo>
                  <a:pt x="3353" y="167"/>
                </a:lnTo>
                <a:lnTo>
                  <a:pt x="3355" y="195"/>
                </a:lnTo>
                <a:lnTo>
                  <a:pt x="3357" y="225"/>
                </a:lnTo>
                <a:lnTo>
                  <a:pt x="3357" y="2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7"/>
          <p:cNvSpPr>
            <a:spLocks/>
          </p:cNvSpPr>
          <p:nvPr/>
        </p:nvSpPr>
        <p:spPr bwMode="auto">
          <a:xfrm>
            <a:off x="4701072" y="3042591"/>
            <a:ext cx="584514" cy="450540"/>
          </a:xfrm>
          <a:custGeom>
            <a:avLst/>
            <a:gdLst>
              <a:gd name="T0" fmla="*/ 4662 w 5888"/>
              <a:gd name="T1" fmla="*/ 4421 h 4530"/>
              <a:gd name="T2" fmla="*/ 4631 w 5888"/>
              <a:gd name="T3" fmla="*/ 4463 h 4530"/>
              <a:gd name="T4" fmla="*/ 4585 w 5888"/>
              <a:gd name="T5" fmla="*/ 4491 h 4530"/>
              <a:gd name="T6" fmla="*/ 4476 w 5888"/>
              <a:gd name="T7" fmla="*/ 4518 h 4530"/>
              <a:gd name="T8" fmla="*/ 4362 w 5888"/>
              <a:gd name="T9" fmla="*/ 4528 h 4530"/>
              <a:gd name="T10" fmla="*/ 4240 w 5888"/>
              <a:gd name="T11" fmla="*/ 4530 h 4530"/>
              <a:gd name="T12" fmla="*/ 4124 w 5888"/>
              <a:gd name="T13" fmla="*/ 4526 h 4530"/>
              <a:gd name="T14" fmla="*/ 3988 w 5888"/>
              <a:gd name="T15" fmla="*/ 4508 h 4530"/>
              <a:gd name="T16" fmla="*/ 3919 w 5888"/>
              <a:gd name="T17" fmla="*/ 4481 h 4530"/>
              <a:gd name="T18" fmla="*/ 3883 w 5888"/>
              <a:gd name="T19" fmla="*/ 4448 h 4530"/>
              <a:gd name="T20" fmla="*/ 3858 w 5888"/>
              <a:gd name="T21" fmla="*/ 4400 h 4530"/>
              <a:gd name="T22" fmla="*/ 2037 w 5888"/>
              <a:gd name="T23" fmla="*/ 4377 h 4530"/>
              <a:gd name="T24" fmla="*/ 2019 w 5888"/>
              <a:gd name="T25" fmla="*/ 4430 h 4530"/>
              <a:gd name="T26" fmla="*/ 1989 w 5888"/>
              <a:gd name="T27" fmla="*/ 4469 h 4530"/>
              <a:gd name="T28" fmla="*/ 1944 w 5888"/>
              <a:gd name="T29" fmla="*/ 4496 h 4530"/>
              <a:gd name="T30" fmla="*/ 1817 w 5888"/>
              <a:gd name="T31" fmla="*/ 4523 h 4530"/>
              <a:gd name="T32" fmla="*/ 1713 w 5888"/>
              <a:gd name="T33" fmla="*/ 4529 h 4530"/>
              <a:gd name="T34" fmla="*/ 1580 w 5888"/>
              <a:gd name="T35" fmla="*/ 4530 h 4530"/>
              <a:gd name="T36" fmla="*/ 1463 w 5888"/>
              <a:gd name="T37" fmla="*/ 4525 h 4530"/>
              <a:gd name="T38" fmla="*/ 1320 w 5888"/>
              <a:gd name="T39" fmla="*/ 4500 h 4530"/>
              <a:gd name="T40" fmla="*/ 1267 w 5888"/>
              <a:gd name="T41" fmla="*/ 4475 h 4530"/>
              <a:gd name="T42" fmla="*/ 1232 w 5888"/>
              <a:gd name="T43" fmla="*/ 4439 h 4530"/>
              <a:gd name="T44" fmla="*/ 1211 w 5888"/>
              <a:gd name="T45" fmla="*/ 4389 h 4530"/>
              <a:gd name="T46" fmla="*/ 2 w 5888"/>
              <a:gd name="T47" fmla="*/ 133 h 4530"/>
              <a:gd name="T48" fmla="*/ 6 w 5888"/>
              <a:gd name="T49" fmla="*/ 68 h 4530"/>
              <a:gd name="T50" fmla="*/ 35 w 5888"/>
              <a:gd name="T51" fmla="*/ 33 h 4530"/>
              <a:gd name="T52" fmla="*/ 92 w 5888"/>
              <a:gd name="T53" fmla="*/ 12 h 4530"/>
              <a:gd name="T54" fmla="*/ 178 w 5888"/>
              <a:gd name="T55" fmla="*/ 3 h 4530"/>
              <a:gd name="T56" fmla="*/ 301 w 5888"/>
              <a:gd name="T57" fmla="*/ 0 h 4530"/>
              <a:gd name="T58" fmla="*/ 416 w 5888"/>
              <a:gd name="T59" fmla="*/ 2 h 4530"/>
              <a:gd name="T60" fmla="*/ 524 w 5888"/>
              <a:gd name="T61" fmla="*/ 13 h 4530"/>
              <a:gd name="T62" fmla="*/ 572 w 5888"/>
              <a:gd name="T63" fmla="*/ 29 h 4530"/>
              <a:gd name="T64" fmla="*/ 602 w 5888"/>
              <a:gd name="T65" fmla="*/ 51 h 4530"/>
              <a:gd name="T66" fmla="*/ 625 w 5888"/>
              <a:gd name="T67" fmla="*/ 107 h 4530"/>
              <a:gd name="T68" fmla="*/ 2605 w 5888"/>
              <a:gd name="T69" fmla="*/ 113 h 4530"/>
              <a:gd name="T70" fmla="*/ 2634 w 5888"/>
              <a:gd name="T71" fmla="*/ 57 h 4530"/>
              <a:gd name="T72" fmla="*/ 2667 w 5888"/>
              <a:gd name="T73" fmla="*/ 32 h 4530"/>
              <a:gd name="T74" fmla="*/ 2774 w 5888"/>
              <a:gd name="T75" fmla="*/ 7 h 4530"/>
              <a:gd name="T76" fmla="*/ 2870 w 5888"/>
              <a:gd name="T77" fmla="*/ 1 h 4530"/>
              <a:gd name="T78" fmla="*/ 3030 w 5888"/>
              <a:gd name="T79" fmla="*/ 2 h 4530"/>
              <a:gd name="T80" fmla="*/ 3170 w 5888"/>
              <a:gd name="T81" fmla="*/ 21 h 4530"/>
              <a:gd name="T82" fmla="*/ 3219 w 5888"/>
              <a:gd name="T83" fmla="*/ 45 h 4530"/>
              <a:gd name="T84" fmla="*/ 3246 w 5888"/>
              <a:gd name="T85" fmla="*/ 82 h 4530"/>
              <a:gd name="T86" fmla="*/ 4301 w 5888"/>
              <a:gd name="T87" fmla="*/ 3884 h 4530"/>
              <a:gd name="T88" fmla="*/ 5311 w 5888"/>
              <a:gd name="T89" fmla="*/ 68 h 4530"/>
              <a:gd name="T90" fmla="*/ 5332 w 5888"/>
              <a:gd name="T91" fmla="*/ 41 h 4530"/>
              <a:gd name="T92" fmla="*/ 5395 w 5888"/>
              <a:gd name="T93" fmla="*/ 16 h 4530"/>
              <a:gd name="T94" fmla="*/ 5499 w 5888"/>
              <a:gd name="T95" fmla="*/ 3 h 4530"/>
              <a:gd name="T96" fmla="*/ 5609 w 5888"/>
              <a:gd name="T97" fmla="*/ 0 h 4530"/>
              <a:gd name="T98" fmla="*/ 5722 w 5888"/>
              <a:gd name="T99" fmla="*/ 4 h 4530"/>
              <a:gd name="T100" fmla="*/ 5801 w 5888"/>
              <a:gd name="T101" fmla="*/ 15 h 4530"/>
              <a:gd name="T102" fmla="*/ 5855 w 5888"/>
              <a:gd name="T103" fmla="*/ 36 h 4530"/>
              <a:gd name="T104" fmla="*/ 5883 w 5888"/>
              <a:gd name="T105" fmla="*/ 72 h 4530"/>
              <a:gd name="T106" fmla="*/ 5887 w 5888"/>
              <a:gd name="T107" fmla="*/ 136 h 4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888" h="4530">
                <a:moveTo>
                  <a:pt x="4679" y="4377"/>
                </a:moveTo>
                <a:lnTo>
                  <a:pt x="4676" y="4389"/>
                </a:lnTo>
                <a:lnTo>
                  <a:pt x="4672" y="4400"/>
                </a:lnTo>
                <a:lnTo>
                  <a:pt x="4668" y="4411"/>
                </a:lnTo>
                <a:lnTo>
                  <a:pt x="4662" y="4421"/>
                </a:lnTo>
                <a:lnTo>
                  <a:pt x="4657" y="4430"/>
                </a:lnTo>
                <a:lnTo>
                  <a:pt x="4652" y="4439"/>
                </a:lnTo>
                <a:lnTo>
                  <a:pt x="4645" y="4448"/>
                </a:lnTo>
                <a:lnTo>
                  <a:pt x="4639" y="4455"/>
                </a:lnTo>
                <a:lnTo>
                  <a:pt x="4631" y="4463"/>
                </a:lnTo>
                <a:lnTo>
                  <a:pt x="4623" y="4469"/>
                </a:lnTo>
                <a:lnTo>
                  <a:pt x="4614" y="4475"/>
                </a:lnTo>
                <a:lnTo>
                  <a:pt x="4606" y="4481"/>
                </a:lnTo>
                <a:lnTo>
                  <a:pt x="4596" y="4486"/>
                </a:lnTo>
                <a:lnTo>
                  <a:pt x="4585" y="4491"/>
                </a:lnTo>
                <a:lnTo>
                  <a:pt x="4573" y="4496"/>
                </a:lnTo>
                <a:lnTo>
                  <a:pt x="4562" y="4500"/>
                </a:lnTo>
                <a:lnTo>
                  <a:pt x="4536" y="4508"/>
                </a:lnTo>
                <a:lnTo>
                  <a:pt x="4507" y="4514"/>
                </a:lnTo>
                <a:lnTo>
                  <a:pt x="4476" y="4518"/>
                </a:lnTo>
                <a:lnTo>
                  <a:pt x="4442" y="4523"/>
                </a:lnTo>
                <a:lnTo>
                  <a:pt x="4424" y="4525"/>
                </a:lnTo>
                <a:lnTo>
                  <a:pt x="4404" y="4526"/>
                </a:lnTo>
                <a:lnTo>
                  <a:pt x="4384" y="4527"/>
                </a:lnTo>
                <a:lnTo>
                  <a:pt x="4362" y="4528"/>
                </a:lnTo>
                <a:lnTo>
                  <a:pt x="4340" y="4529"/>
                </a:lnTo>
                <a:lnTo>
                  <a:pt x="4316" y="4530"/>
                </a:lnTo>
                <a:lnTo>
                  <a:pt x="4293" y="4530"/>
                </a:lnTo>
                <a:lnTo>
                  <a:pt x="4267" y="4530"/>
                </a:lnTo>
                <a:lnTo>
                  <a:pt x="4240" y="4530"/>
                </a:lnTo>
                <a:lnTo>
                  <a:pt x="4216" y="4530"/>
                </a:lnTo>
                <a:lnTo>
                  <a:pt x="4191" y="4529"/>
                </a:lnTo>
                <a:lnTo>
                  <a:pt x="4168" y="4528"/>
                </a:lnTo>
                <a:lnTo>
                  <a:pt x="4145" y="4527"/>
                </a:lnTo>
                <a:lnTo>
                  <a:pt x="4124" y="4526"/>
                </a:lnTo>
                <a:lnTo>
                  <a:pt x="4103" y="4525"/>
                </a:lnTo>
                <a:lnTo>
                  <a:pt x="4084" y="4523"/>
                </a:lnTo>
                <a:lnTo>
                  <a:pt x="4049" y="4518"/>
                </a:lnTo>
                <a:lnTo>
                  <a:pt x="4017" y="4514"/>
                </a:lnTo>
                <a:lnTo>
                  <a:pt x="3988" y="4508"/>
                </a:lnTo>
                <a:lnTo>
                  <a:pt x="3961" y="4500"/>
                </a:lnTo>
                <a:lnTo>
                  <a:pt x="3949" y="4496"/>
                </a:lnTo>
                <a:lnTo>
                  <a:pt x="3939" y="4491"/>
                </a:lnTo>
                <a:lnTo>
                  <a:pt x="3929" y="4486"/>
                </a:lnTo>
                <a:lnTo>
                  <a:pt x="3919" y="4481"/>
                </a:lnTo>
                <a:lnTo>
                  <a:pt x="3911" y="4475"/>
                </a:lnTo>
                <a:lnTo>
                  <a:pt x="3902" y="4469"/>
                </a:lnTo>
                <a:lnTo>
                  <a:pt x="3896" y="4463"/>
                </a:lnTo>
                <a:lnTo>
                  <a:pt x="3889" y="4455"/>
                </a:lnTo>
                <a:lnTo>
                  <a:pt x="3883" y="4448"/>
                </a:lnTo>
                <a:lnTo>
                  <a:pt x="3877" y="4439"/>
                </a:lnTo>
                <a:lnTo>
                  <a:pt x="3872" y="4430"/>
                </a:lnTo>
                <a:lnTo>
                  <a:pt x="3867" y="4421"/>
                </a:lnTo>
                <a:lnTo>
                  <a:pt x="3863" y="4411"/>
                </a:lnTo>
                <a:lnTo>
                  <a:pt x="3858" y="4400"/>
                </a:lnTo>
                <a:lnTo>
                  <a:pt x="3855" y="4389"/>
                </a:lnTo>
                <a:lnTo>
                  <a:pt x="3852" y="4377"/>
                </a:lnTo>
                <a:lnTo>
                  <a:pt x="2912" y="988"/>
                </a:lnTo>
                <a:lnTo>
                  <a:pt x="2904" y="988"/>
                </a:lnTo>
                <a:lnTo>
                  <a:pt x="2037" y="4377"/>
                </a:lnTo>
                <a:lnTo>
                  <a:pt x="2034" y="4389"/>
                </a:lnTo>
                <a:lnTo>
                  <a:pt x="2031" y="4400"/>
                </a:lnTo>
                <a:lnTo>
                  <a:pt x="2027" y="4411"/>
                </a:lnTo>
                <a:lnTo>
                  <a:pt x="2023" y="4421"/>
                </a:lnTo>
                <a:lnTo>
                  <a:pt x="2019" y="4430"/>
                </a:lnTo>
                <a:lnTo>
                  <a:pt x="2014" y="4439"/>
                </a:lnTo>
                <a:lnTo>
                  <a:pt x="2008" y="4448"/>
                </a:lnTo>
                <a:lnTo>
                  <a:pt x="2002" y="4455"/>
                </a:lnTo>
                <a:lnTo>
                  <a:pt x="1995" y="4463"/>
                </a:lnTo>
                <a:lnTo>
                  <a:pt x="1989" y="4469"/>
                </a:lnTo>
                <a:lnTo>
                  <a:pt x="1981" y="4475"/>
                </a:lnTo>
                <a:lnTo>
                  <a:pt x="1973" y="4481"/>
                </a:lnTo>
                <a:lnTo>
                  <a:pt x="1963" y="4486"/>
                </a:lnTo>
                <a:lnTo>
                  <a:pt x="1954" y="4491"/>
                </a:lnTo>
                <a:lnTo>
                  <a:pt x="1944" y="4496"/>
                </a:lnTo>
                <a:lnTo>
                  <a:pt x="1932" y="4500"/>
                </a:lnTo>
                <a:lnTo>
                  <a:pt x="1909" y="4508"/>
                </a:lnTo>
                <a:lnTo>
                  <a:pt x="1881" y="4514"/>
                </a:lnTo>
                <a:lnTo>
                  <a:pt x="1851" y="4518"/>
                </a:lnTo>
                <a:lnTo>
                  <a:pt x="1817" y="4523"/>
                </a:lnTo>
                <a:lnTo>
                  <a:pt x="1798" y="4525"/>
                </a:lnTo>
                <a:lnTo>
                  <a:pt x="1778" y="4526"/>
                </a:lnTo>
                <a:lnTo>
                  <a:pt x="1758" y="4527"/>
                </a:lnTo>
                <a:lnTo>
                  <a:pt x="1735" y="4528"/>
                </a:lnTo>
                <a:lnTo>
                  <a:pt x="1713" y="4529"/>
                </a:lnTo>
                <a:lnTo>
                  <a:pt x="1688" y="4530"/>
                </a:lnTo>
                <a:lnTo>
                  <a:pt x="1662" y="4530"/>
                </a:lnTo>
                <a:lnTo>
                  <a:pt x="1636" y="4530"/>
                </a:lnTo>
                <a:lnTo>
                  <a:pt x="1607" y="4530"/>
                </a:lnTo>
                <a:lnTo>
                  <a:pt x="1580" y="4530"/>
                </a:lnTo>
                <a:lnTo>
                  <a:pt x="1554" y="4529"/>
                </a:lnTo>
                <a:lnTo>
                  <a:pt x="1530" y="4528"/>
                </a:lnTo>
                <a:lnTo>
                  <a:pt x="1506" y="4527"/>
                </a:lnTo>
                <a:lnTo>
                  <a:pt x="1485" y="4526"/>
                </a:lnTo>
                <a:lnTo>
                  <a:pt x="1463" y="4525"/>
                </a:lnTo>
                <a:lnTo>
                  <a:pt x="1444" y="4523"/>
                </a:lnTo>
                <a:lnTo>
                  <a:pt x="1408" y="4518"/>
                </a:lnTo>
                <a:lnTo>
                  <a:pt x="1374" y="4514"/>
                </a:lnTo>
                <a:lnTo>
                  <a:pt x="1345" y="4508"/>
                </a:lnTo>
                <a:lnTo>
                  <a:pt x="1320" y="4500"/>
                </a:lnTo>
                <a:lnTo>
                  <a:pt x="1308" y="4496"/>
                </a:lnTo>
                <a:lnTo>
                  <a:pt x="1296" y="4491"/>
                </a:lnTo>
                <a:lnTo>
                  <a:pt x="1287" y="4486"/>
                </a:lnTo>
                <a:lnTo>
                  <a:pt x="1277" y="4481"/>
                </a:lnTo>
                <a:lnTo>
                  <a:pt x="1267" y="4475"/>
                </a:lnTo>
                <a:lnTo>
                  <a:pt x="1260" y="4469"/>
                </a:lnTo>
                <a:lnTo>
                  <a:pt x="1251" y="4463"/>
                </a:lnTo>
                <a:lnTo>
                  <a:pt x="1245" y="4455"/>
                </a:lnTo>
                <a:lnTo>
                  <a:pt x="1238" y="4448"/>
                </a:lnTo>
                <a:lnTo>
                  <a:pt x="1232" y="4439"/>
                </a:lnTo>
                <a:lnTo>
                  <a:pt x="1227" y="4430"/>
                </a:lnTo>
                <a:lnTo>
                  <a:pt x="1222" y="4421"/>
                </a:lnTo>
                <a:lnTo>
                  <a:pt x="1218" y="4411"/>
                </a:lnTo>
                <a:lnTo>
                  <a:pt x="1214" y="4400"/>
                </a:lnTo>
                <a:lnTo>
                  <a:pt x="1211" y="4389"/>
                </a:lnTo>
                <a:lnTo>
                  <a:pt x="1208" y="4377"/>
                </a:lnTo>
                <a:lnTo>
                  <a:pt x="22" y="233"/>
                </a:lnTo>
                <a:lnTo>
                  <a:pt x="13" y="196"/>
                </a:lnTo>
                <a:lnTo>
                  <a:pt x="6" y="162"/>
                </a:lnTo>
                <a:lnTo>
                  <a:pt x="2" y="133"/>
                </a:lnTo>
                <a:lnTo>
                  <a:pt x="0" y="108"/>
                </a:lnTo>
                <a:lnTo>
                  <a:pt x="0" y="97"/>
                </a:lnTo>
                <a:lnTo>
                  <a:pt x="1" y="87"/>
                </a:lnTo>
                <a:lnTo>
                  <a:pt x="3" y="77"/>
                </a:lnTo>
                <a:lnTo>
                  <a:pt x="6" y="68"/>
                </a:lnTo>
                <a:lnTo>
                  <a:pt x="9" y="60"/>
                </a:lnTo>
                <a:lnTo>
                  <a:pt x="15" y="52"/>
                </a:lnTo>
                <a:lnTo>
                  <a:pt x="21" y="45"/>
                </a:lnTo>
                <a:lnTo>
                  <a:pt x="28" y="39"/>
                </a:lnTo>
                <a:lnTo>
                  <a:pt x="35" y="33"/>
                </a:lnTo>
                <a:lnTo>
                  <a:pt x="45" y="28"/>
                </a:lnTo>
                <a:lnTo>
                  <a:pt x="54" y="22"/>
                </a:lnTo>
                <a:lnTo>
                  <a:pt x="66" y="18"/>
                </a:lnTo>
                <a:lnTo>
                  <a:pt x="78" y="15"/>
                </a:lnTo>
                <a:lnTo>
                  <a:pt x="92" y="12"/>
                </a:lnTo>
                <a:lnTo>
                  <a:pt x="107" y="10"/>
                </a:lnTo>
                <a:lnTo>
                  <a:pt x="123" y="7"/>
                </a:lnTo>
                <a:lnTo>
                  <a:pt x="140" y="5"/>
                </a:lnTo>
                <a:lnTo>
                  <a:pt x="158" y="4"/>
                </a:lnTo>
                <a:lnTo>
                  <a:pt x="178" y="3"/>
                </a:lnTo>
                <a:lnTo>
                  <a:pt x="200" y="2"/>
                </a:lnTo>
                <a:lnTo>
                  <a:pt x="222" y="1"/>
                </a:lnTo>
                <a:lnTo>
                  <a:pt x="247" y="0"/>
                </a:lnTo>
                <a:lnTo>
                  <a:pt x="273" y="0"/>
                </a:lnTo>
                <a:lnTo>
                  <a:pt x="301" y="0"/>
                </a:lnTo>
                <a:lnTo>
                  <a:pt x="326" y="0"/>
                </a:lnTo>
                <a:lnTo>
                  <a:pt x="351" y="0"/>
                </a:lnTo>
                <a:lnTo>
                  <a:pt x="374" y="1"/>
                </a:lnTo>
                <a:lnTo>
                  <a:pt x="396" y="2"/>
                </a:lnTo>
                <a:lnTo>
                  <a:pt x="416" y="2"/>
                </a:lnTo>
                <a:lnTo>
                  <a:pt x="435" y="3"/>
                </a:lnTo>
                <a:lnTo>
                  <a:pt x="453" y="4"/>
                </a:lnTo>
                <a:lnTo>
                  <a:pt x="470" y="6"/>
                </a:lnTo>
                <a:lnTo>
                  <a:pt x="499" y="9"/>
                </a:lnTo>
                <a:lnTo>
                  <a:pt x="524" y="13"/>
                </a:lnTo>
                <a:lnTo>
                  <a:pt x="536" y="16"/>
                </a:lnTo>
                <a:lnTo>
                  <a:pt x="547" y="18"/>
                </a:lnTo>
                <a:lnTo>
                  <a:pt x="556" y="21"/>
                </a:lnTo>
                <a:lnTo>
                  <a:pt x="565" y="25"/>
                </a:lnTo>
                <a:lnTo>
                  <a:pt x="572" y="29"/>
                </a:lnTo>
                <a:lnTo>
                  <a:pt x="580" y="32"/>
                </a:lnTo>
                <a:lnTo>
                  <a:pt x="586" y="36"/>
                </a:lnTo>
                <a:lnTo>
                  <a:pt x="593" y="41"/>
                </a:lnTo>
                <a:lnTo>
                  <a:pt x="598" y="46"/>
                </a:lnTo>
                <a:lnTo>
                  <a:pt x="602" y="51"/>
                </a:lnTo>
                <a:lnTo>
                  <a:pt x="607" y="57"/>
                </a:lnTo>
                <a:lnTo>
                  <a:pt x="610" y="63"/>
                </a:lnTo>
                <a:lnTo>
                  <a:pt x="616" y="76"/>
                </a:lnTo>
                <a:lnTo>
                  <a:pt x="621" y="91"/>
                </a:lnTo>
                <a:lnTo>
                  <a:pt x="625" y="107"/>
                </a:lnTo>
                <a:lnTo>
                  <a:pt x="629" y="125"/>
                </a:lnTo>
                <a:lnTo>
                  <a:pt x="1638" y="3884"/>
                </a:lnTo>
                <a:lnTo>
                  <a:pt x="1641" y="3884"/>
                </a:lnTo>
                <a:lnTo>
                  <a:pt x="2599" y="133"/>
                </a:lnTo>
                <a:lnTo>
                  <a:pt x="2605" y="113"/>
                </a:lnTo>
                <a:lnTo>
                  <a:pt x="2611" y="97"/>
                </a:lnTo>
                <a:lnTo>
                  <a:pt x="2617" y="82"/>
                </a:lnTo>
                <a:lnTo>
                  <a:pt x="2625" y="68"/>
                </a:lnTo>
                <a:lnTo>
                  <a:pt x="2629" y="62"/>
                </a:lnTo>
                <a:lnTo>
                  <a:pt x="2634" y="57"/>
                </a:lnTo>
                <a:lnTo>
                  <a:pt x="2640" y="50"/>
                </a:lnTo>
                <a:lnTo>
                  <a:pt x="2645" y="45"/>
                </a:lnTo>
                <a:lnTo>
                  <a:pt x="2652" y="41"/>
                </a:lnTo>
                <a:lnTo>
                  <a:pt x="2659" y="36"/>
                </a:lnTo>
                <a:lnTo>
                  <a:pt x="2667" y="32"/>
                </a:lnTo>
                <a:lnTo>
                  <a:pt x="2674" y="29"/>
                </a:lnTo>
                <a:lnTo>
                  <a:pt x="2694" y="21"/>
                </a:lnTo>
                <a:lnTo>
                  <a:pt x="2717" y="16"/>
                </a:lnTo>
                <a:lnTo>
                  <a:pt x="2744" y="11"/>
                </a:lnTo>
                <a:lnTo>
                  <a:pt x="2774" y="7"/>
                </a:lnTo>
                <a:lnTo>
                  <a:pt x="2791" y="5"/>
                </a:lnTo>
                <a:lnTo>
                  <a:pt x="2809" y="4"/>
                </a:lnTo>
                <a:lnTo>
                  <a:pt x="2827" y="3"/>
                </a:lnTo>
                <a:lnTo>
                  <a:pt x="2848" y="2"/>
                </a:lnTo>
                <a:lnTo>
                  <a:pt x="2870" y="1"/>
                </a:lnTo>
                <a:lnTo>
                  <a:pt x="2893" y="0"/>
                </a:lnTo>
                <a:lnTo>
                  <a:pt x="2917" y="0"/>
                </a:lnTo>
                <a:lnTo>
                  <a:pt x="2942" y="0"/>
                </a:lnTo>
                <a:lnTo>
                  <a:pt x="2989" y="0"/>
                </a:lnTo>
                <a:lnTo>
                  <a:pt x="3030" y="2"/>
                </a:lnTo>
                <a:lnTo>
                  <a:pt x="3065" y="4"/>
                </a:lnTo>
                <a:lnTo>
                  <a:pt x="3096" y="7"/>
                </a:lnTo>
                <a:lnTo>
                  <a:pt x="3124" y="11"/>
                </a:lnTo>
                <a:lnTo>
                  <a:pt x="3148" y="16"/>
                </a:lnTo>
                <a:lnTo>
                  <a:pt x="3170" y="21"/>
                </a:lnTo>
                <a:lnTo>
                  <a:pt x="3188" y="29"/>
                </a:lnTo>
                <a:lnTo>
                  <a:pt x="3197" y="32"/>
                </a:lnTo>
                <a:lnTo>
                  <a:pt x="3205" y="36"/>
                </a:lnTo>
                <a:lnTo>
                  <a:pt x="3212" y="41"/>
                </a:lnTo>
                <a:lnTo>
                  <a:pt x="3219" y="45"/>
                </a:lnTo>
                <a:lnTo>
                  <a:pt x="3224" y="50"/>
                </a:lnTo>
                <a:lnTo>
                  <a:pt x="3230" y="57"/>
                </a:lnTo>
                <a:lnTo>
                  <a:pt x="3235" y="62"/>
                </a:lnTo>
                <a:lnTo>
                  <a:pt x="3239" y="68"/>
                </a:lnTo>
                <a:lnTo>
                  <a:pt x="3246" y="82"/>
                </a:lnTo>
                <a:lnTo>
                  <a:pt x="3253" y="97"/>
                </a:lnTo>
                <a:lnTo>
                  <a:pt x="3259" y="113"/>
                </a:lnTo>
                <a:lnTo>
                  <a:pt x="3264" y="133"/>
                </a:lnTo>
                <a:lnTo>
                  <a:pt x="4295" y="3884"/>
                </a:lnTo>
                <a:lnTo>
                  <a:pt x="4301" y="3884"/>
                </a:lnTo>
                <a:lnTo>
                  <a:pt x="5290" y="130"/>
                </a:lnTo>
                <a:lnTo>
                  <a:pt x="5295" y="112"/>
                </a:lnTo>
                <a:lnTo>
                  <a:pt x="5300" y="96"/>
                </a:lnTo>
                <a:lnTo>
                  <a:pt x="5306" y="81"/>
                </a:lnTo>
                <a:lnTo>
                  <a:pt x="5311" y="68"/>
                </a:lnTo>
                <a:lnTo>
                  <a:pt x="5314" y="62"/>
                </a:lnTo>
                <a:lnTo>
                  <a:pt x="5317" y="57"/>
                </a:lnTo>
                <a:lnTo>
                  <a:pt x="5322" y="50"/>
                </a:lnTo>
                <a:lnTo>
                  <a:pt x="5327" y="45"/>
                </a:lnTo>
                <a:lnTo>
                  <a:pt x="5332" y="41"/>
                </a:lnTo>
                <a:lnTo>
                  <a:pt x="5339" y="36"/>
                </a:lnTo>
                <a:lnTo>
                  <a:pt x="5346" y="32"/>
                </a:lnTo>
                <a:lnTo>
                  <a:pt x="5355" y="29"/>
                </a:lnTo>
                <a:lnTo>
                  <a:pt x="5372" y="21"/>
                </a:lnTo>
                <a:lnTo>
                  <a:pt x="5395" y="16"/>
                </a:lnTo>
                <a:lnTo>
                  <a:pt x="5419" y="11"/>
                </a:lnTo>
                <a:lnTo>
                  <a:pt x="5448" y="7"/>
                </a:lnTo>
                <a:lnTo>
                  <a:pt x="5464" y="5"/>
                </a:lnTo>
                <a:lnTo>
                  <a:pt x="5481" y="4"/>
                </a:lnTo>
                <a:lnTo>
                  <a:pt x="5499" y="3"/>
                </a:lnTo>
                <a:lnTo>
                  <a:pt x="5519" y="2"/>
                </a:lnTo>
                <a:lnTo>
                  <a:pt x="5539" y="1"/>
                </a:lnTo>
                <a:lnTo>
                  <a:pt x="5562" y="0"/>
                </a:lnTo>
                <a:lnTo>
                  <a:pt x="5584" y="0"/>
                </a:lnTo>
                <a:lnTo>
                  <a:pt x="5609" y="0"/>
                </a:lnTo>
                <a:lnTo>
                  <a:pt x="5634" y="0"/>
                </a:lnTo>
                <a:lnTo>
                  <a:pt x="5659" y="1"/>
                </a:lnTo>
                <a:lnTo>
                  <a:pt x="5681" y="1"/>
                </a:lnTo>
                <a:lnTo>
                  <a:pt x="5703" y="2"/>
                </a:lnTo>
                <a:lnTo>
                  <a:pt x="5722" y="4"/>
                </a:lnTo>
                <a:lnTo>
                  <a:pt x="5740" y="5"/>
                </a:lnTo>
                <a:lnTo>
                  <a:pt x="5758" y="7"/>
                </a:lnTo>
                <a:lnTo>
                  <a:pt x="5774" y="10"/>
                </a:lnTo>
                <a:lnTo>
                  <a:pt x="5789" y="12"/>
                </a:lnTo>
                <a:lnTo>
                  <a:pt x="5801" y="15"/>
                </a:lnTo>
                <a:lnTo>
                  <a:pt x="5814" y="18"/>
                </a:lnTo>
                <a:lnTo>
                  <a:pt x="5826" y="22"/>
                </a:lnTo>
                <a:lnTo>
                  <a:pt x="5837" y="27"/>
                </a:lnTo>
                <a:lnTo>
                  <a:pt x="5846" y="31"/>
                </a:lnTo>
                <a:lnTo>
                  <a:pt x="5855" y="36"/>
                </a:lnTo>
                <a:lnTo>
                  <a:pt x="5862" y="43"/>
                </a:lnTo>
                <a:lnTo>
                  <a:pt x="5869" y="49"/>
                </a:lnTo>
                <a:lnTo>
                  <a:pt x="5874" y="56"/>
                </a:lnTo>
                <a:lnTo>
                  <a:pt x="5878" y="63"/>
                </a:lnTo>
                <a:lnTo>
                  <a:pt x="5883" y="72"/>
                </a:lnTo>
                <a:lnTo>
                  <a:pt x="5886" y="80"/>
                </a:lnTo>
                <a:lnTo>
                  <a:pt x="5887" y="90"/>
                </a:lnTo>
                <a:lnTo>
                  <a:pt x="5888" y="101"/>
                </a:lnTo>
                <a:lnTo>
                  <a:pt x="5888" y="111"/>
                </a:lnTo>
                <a:lnTo>
                  <a:pt x="5887" y="136"/>
                </a:lnTo>
                <a:lnTo>
                  <a:pt x="5883" y="166"/>
                </a:lnTo>
                <a:lnTo>
                  <a:pt x="5876" y="199"/>
                </a:lnTo>
                <a:lnTo>
                  <a:pt x="5870" y="237"/>
                </a:lnTo>
                <a:lnTo>
                  <a:pt x="4679" y="437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8"/>
          <p:cNvSpPr>
            <a:spLocks/>
          </p:cNvSpPr>
          <p:nvPr/>
        </p:nvSpPr>
        <p:spPr bwMode="auto">
          <a:xfrm>
            <a:off x="4019761" y="3038621"/>
            <a:ext cx="273898" cy="458482"/>
          </a:xfrm>
          <a:custGeom>
            <a:avLst/>
            <a:gdLst>
              <a:gd name="T0" fmla="*/ 2731 w 2760"/>
              <a:gd name="T1" fmla="*/ 3593 h 4620"/>
              <a:gd name="T2" fmla="*/ 2629 w 2760"/>
              <a:gd name="T3" fmla="*/ 3887 h 4620"/>
              <a:gd name="T4" fmla="*/ 2464 w 2760"/>
              <a:gd name="T5" fmla="*/ 4135 h 4620"/>
              <a:gd name="T6" fmla="*/ 2242 w 2760"/>
              <a:gd name="T7" fmla="*/ 4336 h 4620"/>
              <a:gd name="T8" fmla="*/ 1971 w 2760"/>
              <a:gd name="T9" fmla="*/ 4484 h 4620"/>
              <a:gd name="T10" fmla="*/ 1657 w 2760"/>
              <a:gd name="T11" fmla="*/ 4578 h 4620"/>
              <a:gd name="T12" fmla="*/ 1315 w 2760"/>
              <a:gd name="T13" fmla="*/ 4619 h 4620"/>
              <a:gd name="T14" fmla="*/ 865 w 2760"/>
              <a:gd name="T15" fmla="*/ 4590 h 4620"/>
              <a:gd name="T16" fmla="*/ 473 w 2760"/>
              <a:gd name="T17" fmla="*/ 4487 h 4620"/>
              <a:gd name="T18" fmla="*/ 172 w 2760"/>
              <a:gd name="T19" fmla="*/ 4345 h 4620"/>
              <a:gd name="T20" fmla="*/ 43 w 2760"/>
              <a:gd name="T21" fmla="*/ 4225 h 4620"/>
              <a:gd name="T22" fmla="*/ 2 w 2760"/>
              <a:gd name="T23" fmla="*/ 4070 h 4620"/>
              <a:gd name="T24" fmla="*/ 16 w 2760"/>
              <a:gd name="T25" fmla="*/ 3823 h 4620"/>
              <a:gd name="T26" fmla="*/ 73 w 2760"/>
              <a:gd name="T27" fmla="*/ 3739 h 4620"/>
              <a:gd name="T28" fmla="*/ 207 w 2760"/>
              <a:gd name="T29" fmla="*/ 3765 h 4620"/>
              <a:gd name="T30" fmla="*/ 441 w 2760"/>
              <a:gd name="T31" fmla="*/ 3902 h 4620"/>
              <a:gd name="T32" fmla="*/ 809 w 2760"/>
              <a:gd name="T33" fmla="*/ 4049 h 4620"/>
              <a:gd name="T34" fmla="*/ 1078 w 2760"/>
              <a:gd name="T35" fmla="*/ 4102 h 4620"/>
              <a:gd name="T36" fmla="*/ 1535 w 2760"/>
              <a:gd name="T37" fmla="*/ 4080 h 4620"/>
              <a:gd name="T38" fmla="*/ 1866 w 2760"/>
              <a:gd name="T39" fmla="*/ 3934 h 4620"/>
              <a:gd name="T40" fmla="*/ 1999 w 2760"/>
              <a:gd name="T41" fmla="*/ 3804 h 4620"/>
              <a:gd name="T42" fmla="*/ 2095 w 2760"/>
              <a:gd name="T43" fmla="*/ 3623 h 4620"/>
              <a:gd name="T44" fmla="*/ 2137 w 2760"/>
              <a:gd name="T45" fmla="*/ 3361 h 4620"/>
              <a:gd name="T46" fmla="*/ 2109 w 2760"/>
              <a:gd name="T47" fmla="*/ 3164 h 4620"/>
              <a:gd name="T48" fmla="*/ 2003 w 2760"/>
              <a:gd name="T49" fmla="*/ 2970 h 4620"/>
              <a:gd name="T50" fmla="*/ 1709 w 2760"/>
              <a:gd name="T51" fmla="*/ 2723 h 4620"/>
              <a:gd name="T52" fmla="*/ 1313 w 2760"/>
              <a:gd name="T53" fmla="*/ 2524 h 4620"/>
              <a:gd name="T54" fmla="*/ 890 w 2760"/>
              <a:gd name="T55" fmla="*/ 2318 h 4620"/>
              <a:gd name="T56" fmla="*/ 503 w 2760"/>
              <a:gd name="T57" fmla="*/ 2058 h 4620"/>
              <a:gd name="T58" fmla="*/ 316 w 2760"/>
              <a:gd name="T59" fmla="*/ 1850 h 4620"/>
              <a:gd name="T60" fmla="*/ 199 w 2760"/>
              <a:gd name="T61" fmla="*/ 1646 h 4620"/>
              <a:gd name="T62" fmla="*/ 128 w 2760"/>
              <a:gd name="T63" fmla="*/ 1400 h 4620"/>
              <a:gd name="T64" fmla="*/ 112 w 2760"/>
              <a:gd name="T65" fmla="*/ 1106 h 4620"/>
              <a:gd name="T66" fmla="*/ 160 w 2760"/>
              <a:gd name="T67" fmla="*/ 818 h 4620"/>
              <a:gd name="T68" fmla="*/ 270 w 2760"/>
              <a:gd name="T69" fmla="*/ 570 h 4620"/>
              <a:gd name="T70" fmla="*/ 433 w 2760"/>
              <a:gd name="T71" fmla="*/ 364 h 4620"/>
              <a:gd name="T72" fmla="*/ 643 w 2760"/>
              <a:gd name="T73" fmla="*/ 203 h 4620"/>
              <a:gd name="T74" fmla="*/ 900 w 2760"/>
              <a:gd name="T75" fmla="*/ 88 h 4620"/>
              <a:gd name="T76" fmla="*/ 1193 w 2760"/>
              <a:gd name="T77" fmla="*/ 19 h 4620"/>
              <a:gd name="T78" fmla="*/ 1511 w 2760"/>
              <a:gd name="T79" fmla="*/ 0 h 4620"/>
              <a:gd name="T80" fmla="*/ 1849 w 2760"/>
              <a:gd name="T81" fmla="*/ 41 h 4620"/>
              <a:gd name="T82" fmla="*/ 2154 w 2760"/>
              <a:gd name="T83" fmla="*/ 130 h 4620"/>
              <a:gd name="T84" fmla="*/ 2382 w 2760"/>
              <a:gd name="T85" fmla="*/ 242 h 4620"/>
              <a:gd name="T86" fmla="*/ 2482 w 2760"/>
              <a:gd name="T87" fmla="*/ 342 h 4620"/>
              <a:gd name="T88" fmla="*/ 2506 w 2760"/>
              <a:gd name="T89" fmla="*/ 499 h 4620"/>
              <a:gd name="T90" fmla="*/ 2491 w 2760"/>
              <a:gd name="T91" fmla="*/ 733 h 4620"/>
              <a:gd name="T92" fmla="*/ 2413 w 2760"/>
              <a:gd name="T93" fmla="*/ 816 h 4620"/>
              <a:gd name="T94" fmla="*/ 2273 w 2760"/>
              <a:gd name="T95" fmla="*/ 755 h 4620"/>
              <a:gd name="T96" fmla="*/ 2033 w 2760"/>
              <a:gd name="T97" fmla="*/ 627 h 4620"/>
              <a:gd name="T98" fmla="*/ 1689 w 2760"/>
              <a:gd name="T99" fmla="*/ 516 h 4620"/>
              <a:gd name="T100" fmla="*/ 1278 w 2760"/>
              <a:gd name="T101" fmla="*/ 509 h 4620"/>
              <a:gd name="T102" fmla="*/ 973 w 2760"/>
              <a:gd name="T103" fmla="*/ 623 h 4620"/>
              <a:gd name="T104" fmla="*/ 789 w 2760"/>
              <a:gd name="T105" fmla="*/ 822 h 4620"/>
              <a:gd name="T106" fmla="*/ 718 w 2760"/>
              <a:gd name="T107" fmla="*/ 1089 h 4620"/>
              <a:gd name="T108" fmla="*/ 740 w 2760"/>
              <a:gd name="T109" fmla="*/ 1294 h 4620"/>
              <a:gd name="T110" fmla="*/ 828 w 2760"/>
              <a:gd name="T111" fmla="*/ 1476 h 4620"/>
              <a:gd name="T112" fmla="*/ 1110 w 2760"/>
              <a:gd name="T113" fmla="*/ 1733 h 4620"/>
              <a:gd name="T114" fmla="*/ 1502 w 2760"/>
              <a:gd name="T115" fmla="*/ 1938 h 4620"/>
              <a:gd name="T116" fmla="*/ 1926 w 2760"/>
              <a:gd name="T117" fmla="*/ 2141 h 4620"/>
              <a:gd name="T118" fmla="*/ 2326 w 2760"/>
              <a:gd name="T119" fmla="*/ 2390 h 4620"/>
              <a:gd name="T120" fmla="*/ 2540 w 2760"/>
              <a:gd name="T121" fmla="*/ 2607 h 4620"/>
              <a:gd name="T122" fmla="*/ 2661 w 2760"/>
              <a:gd name="T123" fmla="*/ 2807 h 4620"/>
              <a:gd name="T124" fmla="*/ 2739 w 2760"/>
              <a:gd name="T125" fmla="*/ 3046 h 4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60" h="4620">
                <a:moveTo>
                  <a:pt x="2760" y="3296"/>
                </a:moveTo>
                <a:lnTo>
                  <a:pt x="2760" y="3334"/>
                </a:lnTo>
                <a:lnTo>
                  <a:pt x="2759" y="3373"/>
                </a:lnTo>
                <a:lnTo>
                  <a:pt x="2757" y="3411"/>
                </a:lnTo>
                <a:lnTo>
                  <a:pt x="2754" y="3449"/>
                </a:lnTo>
                <a:lnTo>
                  <a:pt x="2749" y="3485"/>
                </a:lnTo>
                <a:lnTo>
                  <a:pt x="2744" y="3521"/>
                </a:lnTo>
                <a:lnTo>
                  <a:pt x="2739" y="3558"/>
                </a:lnTo>
                <a:lnTo>
                  <a:pt x="2731" y="3593"/>
                </a:lnTo>
                <a:lnTo>
                  <a:pt x="2724" y="3627"/>
                </a:lnTo>
                <a:lnTo>
                  <a:pt x="2715" y="3662"/>
                </a:lnTo>
                <a:lnTo>
                  <a:pt x="2705" y="3696"/>
                </a:lnTo>
                <a:lnTo>
                  <a:pt x="2695" y="3729"/>
                </a:lnTo>
                <a:lnTo>
                  <a:pt x="2684" y="3761"/>
                </a:lnTo>
                <a:lnTo>
                  <a:pt x="2671" y="3793"/>
                </a:lnTo>
                <a:lnTo>
                  <a:pt x="2658" y="3826"/>
                </a:lnTo>
                <a:lnTo>
                  <a:pt x="2644" y="3857"/>
                </a:lnTo>
                <a:lnTo>
                  <a:pt x="2629" y="3887"/>
                </a:lnTo>
                <a:lnTo>
                  <a:pt x="2613" y="3917"/>
                </a:lnTo>
                <a:lnTo>
                  <a:pt x="2597" y="3947"/>
                </a:lnTo>
                <a:lnTo>
                  <a:pt x="2580" y="3975"/>
                </a:lnTo>
                <a:lnTo>
                  <a:pt x="2563" y="4003"/>
                </a:lnTo>
                <a:lnTo>
                  <a:pt x="2545" y="4031"/>
                </a:lnTo>
                <a:lnTo>
                  <a:pt x="2526" y="4058"/>
                </a:lnTo>
                <a:lnTo>
                  <a:pt x="2505" y="4084"/>
                </a:lnTo>
                <a:lnTo>
                  <a:pt x="2485" y="4110"/>
                </a:lnTo>
                <a:lnTo>
                  <a:pt x="2464" y="4135"/>
                </a:lnTo>
                <a:lnTo>
                  <a:pt x="2442" y="4160"/>
                </a:lnTo>
                <a:lnTo>
                  <a:pt x="2420" y="4184"/>
                </a:lnTo>
                <a:lnTo>
                  <a:pt x="2396" y="4208"/>
                </a:lnTo>
                <a:lnTo>
                  <a:pt x="2371" y="4230"/>
                </a:lnTo>
                <a:lnTo>
                  <a:pt x="2347" y="4253"/>
                </a:lnTo>
                <a:lnTo>
                  <a:pt x="2321" y="4274"/>
                </a:lnTo>
                <a:lnTo>
                  <a:pt x="2295" y="4296"/>
                </a:lnTo>
                <a:lnTo>
                  <a:pt x="2269" y="4316"/>
                </a:lnTo>
                <a:lnTo>
                  <a:pt x="2242" y="4336"/>
                </a:lnTo>
                <a:lnTo>
                  <a:pt x="2214" y="4356"/>
                </a:lnTo>
                <a:lnTo>
                  <a:pt x="2185" y="4374"/>
                </a:lnTo>
                <a:lnTo>
                  <a:pt x="2156" y="4392"/>
                </a:lnTo>
                <a:lnTo>
                  <a:pt x="2127" y="4409"/>
                </a:lnTo>
                <a:lnTo>
                  <a:pt x="2097" y="4425"/>
                </a:lnTo>
                <a:lnTo>
                  <a:pt x="2066" y="4441"/>
                </a:lnTo>
                <a:lnTo>
                  <a:pt x="2035" y="4456"/>
                </a:lnTo>
                <a:lnTo>
                  <a:pt x="2004" y="4470"/>
                </a:lnTo>
                <a:lnTo>
                  <a:pt x="1971" y="4484"/>
                </a:lnTo>
                <a:lnTo>
                  <a:pt x="1939" y="4497"/>
                </a:lnTo>
                <a:lnTo>
                  <a:pt x="1905" y="4510"/>
                </a:lnTo>
                <a:lnTo>
                  <a:pt x="1870" y="4521"/>
                </a:lnTo>
                <a:lnTo>
                  <a:pt x="1836" y="4532"/>
                </a:lnTo>
                <a:lnTo>
                  <a:pt x="1801" y="4543"/>
                </a:lnTo>
                <a:lnTo>
                  <a:pt x="1765" y="4553"/>
                </a:lnTo>
                <a:lnTo>
                  <a:pt x="1730" y="4562"/>
                </a:lnTo>
                <a:lnTo>
                  <a:pt x="1694" y="4571"/>
                </a:lnTo>
                <a:lnTo>
                  <a:pt x="1657" y="4578"/>
                </a:lnTo>
                <a:lnTo>
                  <a:pt x="1621" y="4586"/>
                </a:lnTo>
                <a:lnTo>
                  <a:pt x="1583" y="4592"/>
                </a:lnTo>
                <a:lnTo>
                  <a:pt x="1546" y="4598"/>
                </a:lnTo>
                <a:lnTo>
                  <a:pt x="1509" y="4603"/>
                </a:lnTo>
                <a:lnTo>
                  <a:pt x="1471" y="4607"/>
                </a:lnTo>
                <a:lnTo>
                  <a:pt x="1432" y="4611"/>
                </a:lnTo>
                <a:lnTo>
                  <a:pt x="1393" y="4615"/>
                </a:lnTo>
                <a:lnTo>
                  <a:pt x="1354" y="4617"/>
                </a:lnTo>
                <a:lnTo>
                  <a:pt x="1315" y="4619"/>
                </a:lnTo>
                <a:lnTo>
                  <a:pt x="1275" y="4620"/>
                </a:lnTo>
                <a:lnTo>
                  <a:pt x="1234" y="4620"/>
                </a:lnTo>
                <a:lnTo>
                  <a:pt x="1179" y="4619"/>
                </a:lnTo>
                <a:lnTo>
                  <a:pt x="1124" y="4618"/>
                </a:lnTo>
                <a:lnTo>
                  <a:pt x="1070" y="4615"/>
                </a:lnTo>
                <a:lnTo>
                  <a:pt x="1017" y="4610"/>
                </a:lnTo>
                <a:lnTo>
                  <a:pt x="966" y="4605"/>
                </a:lnTo>
                <a:lnTo>
                  <a:pt x="915" y="4598"/>
                </a:lnTo>
                <a:lnTo>
                  <a:pt x="865" y="4590"/>
                </a:lnTo>
                <a:lnTo>
                  <a:pt x="817" y="4581"/>
                </a:lnTo>
                <a:lnTo>
                  <a:pt x="770" y="4572"/>
                </a:lnTo>
                <a:lnTo>
                  <a:pt x="724" y="4561"/>
                </a:lnTo>
                <a:lnTo>
                  <a:pt x="679" y="4550"/>
                </a:lnTo>
                <a:lnTo>
                  <a:pt x="635" y="4539"/>
                </a:lnTo>
                <a:lnTo>
                  <a:pt x="593" y="4527"/>
                </a:lnTo>
                <a:lnTo>
                  <a:pt x="551" y="4514"/>
                </a:lnTo>
                <a:lnTo>
                  <a:pt x="512" y="4501"/>
                </a:lnTo>
                <a:lnTo>
                  <a:pt x="473" y="4487"/>
                </a:lnTo>
                <a:lnTo>
                  <a:pt x="437" y="4473"/>
                </a:lnTo>
                <a:lnTo>
                  <a:pt x="401" y="4459"/>
                </a:lnTo>
                <a:lnTo>
                  <a:pt x="367" y="4445"/>
                </a:lnTo>
                <a:lnTo>
                  <a:pt x="335" y="4432"/>
                </a:lnTo>
                <a:lnTo>
                  <a:pt x="304" y="4418"/>
                </a:lnTo>
                <a:lnTo>
                  <a:pt x="274" y="4403"/>
                </a:lnTo>
                <a:lnTo>
                  <a:pt x="246" y="4389"/>
                </a:lnTo>
                <a:lnTo>
                  <a:pt x="221" y="4374"/>
                </a:lnTo>
                <a:lnTo>
                  <a:pt x="172" y="4345"/>
                </a:lnTo>
                <a:lnTo>
                  <a:pt x="133" y="4319"/>
                </a:lnTo>
                <a:lnTo>
                  <a:pt x="117" y="4306"/>
                </a:lnTo>
                <a:lnTo>
                  <a:pt x="102" y="4295"/>
                </a:lnTo>
                <a:lnTo>
                  <a:pt x="89" y="4284"/>
                </a:lnTo>
                <a:lnTo>
                  <a:pt x="78" y="4273"/>
                </a:lnTo>
                <a:lnTo>
                  <a:pt x="69" y="4262"/>
                </a:lnTo>
                <a:lnTo>
                  <a:pt x="59" y="4251"/>
                </a:lnTo>
                <a:lnTo>
                  <a:pt x="51" y="4238"/>
                </a:lnTo>
                <a:lnTo>
                  <a:pt x="43" y="4225"/>
                </a:lnTo>
                <a:lnTo>
                  <a:pt x="36" y="4212"/>
                </a:lnTo>
                <a:lnTo>
                  <a:pt x="30" y="4197"/>
                </a:lnTo>
                <a:lnTo>
                  <a:pt x="25" y="4182"/>
                </a:lnTo>
                <a:lnTo>
                  <a:pt x="19" y="4167"/>
                </a:lnTo>
                <a:lnTo>
                  <a:pt x="14" y="4150"/>
                </a:lnTo>
                <a:lnTo>
                  <a:pt x="11" y="4132"/>
                </a:lnTo>
                <a:lnTo>
                  <a:pt x="7" y="4112"/>
                </a:lnTo>
                <a:lnTo>
                  <a:pt x="4" y="4092"/>
                </a:lnTo>
                <a:lnTo>
                  <a:pt x="2" y="4070"/>
                </a:lnTo>
                <a:lnTo>
                  <a:pt x="1" y="4046"/>
                </a:lnTo>
                <a:lnTo>
                  <a:pt x="0" y="4021"/>
                </a:lnTo>
                <a:lnTo>
                  <a:pt x="0" y="3995"/>
                </a:lnTo>
                <a:lnTo>
                  <a:pt x="0" y="3958"/>
                </a:lnTo>
                <a:lnTo>
                  <a:pt x="2" y="3925"/>
                </a:lnTo>
                <a:lnTo>
                  <a:pt x="4" y="3895"/>
                </a:lnTo>
                <a:lnTo>
                  <a:pt x="7" y="3868"/>
                </a:lnTo>
                <a:lnTo>
                  <a:pt x="11" y="3845"/>
                </a:lnTo>
                <a:lnTo>
                  <a:pt x="16" y="3823"/>
                </a:lnTo>
                <a:lnTo>
                  <a:pt x="21" y="3804"/>
                </a:lnTo>
                <a:lnTo>
                  <a:pt x="27" y="3788"/>
                </a:lnTo>
                <a:lnTo>
                  <a:pt x="34" y="3773"/>
                </a:lnTo>
                <a:lnTo>
                  <a:pt x="43" y="3761"/>
                </a:lnTo>
                <a:lnTo>
                  <a:pt x="48" y="3756"/>
                </a:lnTo>
                <a:lnTo>
                  <a:pt x="52" y="3752"/>
                </a:lnTo>
                <a:lnTo>
                  <a:pt x="58" y="3747"/>
                </a:lnTo>
                <a:lnTo>
                  <a:pt x="63" y="3744"/>
                </a:lnTo>
                <a:lnTo>
                  <a:pt x="73" y="3739"/>
                </a:lnTo>
                <a:lnTo>
                  <a:pt x="85" y="3735"/>
                </a:lnTo>
                <a:lnTo>
                  <a:pt x="97" y="3732"/>
                </a:lnTo>
                <a:lnTo>
                  <a:pt x="111" y="3732"/>
                </a:lnTo>
                <a:lnTo>
                  <a:pt x="124" y="3733"/>
                </a:lnTo>
                <a:lnTo>
                  <a:pt x="138" y="3736"/>
                </a:lnTo>
                <a:lnTo>
                  <a:pt x="153" y="3740"/>
                </a:lnTo>
                <a:lnTo>
                  <a:pt x="169" y="3746"/>
                </a:lnTo>
                <a:lnTo>
                  <a:pt x="187" y="3755"/>
                </a:lnTo>
                <a:lnTo>
                  <a:pt x="207" y="3765"/>
                </a:lnTo>
                <a:lnTo>
                  <a:pt x="226" y="3776"/>
                </a:lnTo>
                <a:lnTo>
                  <a:pt x="247" y="3790"/>
                </a:lnTo>
                <a:lnTo>
                  <a:pt x="271" y="3805"/>
                </a:lnTo>
                <a:lnTo>
                  <a:pt x="294" y="3821"/>
                </a:lnTo>
                <a:lnTo>
                  <a:pt x="321" y="3836"/>
                </a:lnTo>
                <a:lnTo>
                  <a:pt x="349" y="3852"/>
                </a:lnTo>
                <a:lnTo>
                  <a:pt x="378" y="3868"/>
                </a:lnTo>
                <a:lnTo>
                  <a:pt x="409" y="3886"/>
                </a:lnTo>
                <a:lnTo>
                  <a:pt x="441" y="3902"/>
                </a:lnTo>
                <a:lnTo>
                  <a:pt x="474" y="3920"/>
                </a:lnTo>
                <a:lnTo>
                  <a:pt x="511" y="3937"/>
                </a:lnTo>
                <a:lnTo>
                  <a:pt x="548" y="3953"/>
                </a:lnTo>
                <a:lnTo>
                  <a:pt x="588" y="3970"/>
                </a:lnTo>
                <a:lnTo>
                  <a:pt x="628" y="3986"/>
                </a:lnTo>
                <a:lnTo>
                  <a:pt x="671" y="4002"/>
                </a:lnTo>
                <a:lnTo>
                  <a:pt x="715" y="4018"/>
                </a:lnTo>
                <a:lnTo>
                  <a:pt x="762" y="4034"/>
                </a:lnTo>
                <a:lnTo>
                  <a:pt x="809" y="4049"/>
                </a:lnTo>
                <a:lnTo>
                  <a:pt x="834" y="4057"/>
                </a:lnTo>
                <a:lnTo>
                  <a:pt x="860" y="4063"/>
                </a:lnTo>
                <a:lnTo>
                  <a:pt x="885" y="4070"/>
                </a:lnTo>
                <a:lnTo>
                  <a:pt x="911" y="4076"/>
                </a:lnTo>
                <a:lnTo>
                  <a:pt x="938" y="4081"/>
                </a:lnTo>
                <a:lnTo>
                  <a:pt x="965" y="4086"/>
                </a:lnTo>
                <a:lnTo>
                  <a:pt x="992" y="4091"/>
                </a:lnTo>
                <a:lnTo>
                  <a:pt x="1020" y="4094"/>
                </a:lnTo>
                <a:lnTo>
                  <a:pt x="1078" y="4102"/>
                </a:lnTo>
                <a:lnTo>
                  <a:pt x="1138" y="4106"/>
                </a:lnTo>
                <a:lnTo>
                  <a:pt x="1199" y="4109"/>
                </a:lnTo>
                <a:lnTo>
                  <a:pt x="1262" y="4110"/>
                </a:lnTo>
                <a:lnTo>
                  <a:pt x="1310" y="4109"/>
                </a:lnTo>
                <a:lnTo>
                  <a:pt x="1358" y="4106"/>
                </a:lnTo>
                <a:lnTo>
                  <a:pt x="1404" y="4103"/>
                </a:lnTo>
                <a:lnTo>
                  <a:pt x="1449" y="4096"/>
                </a:lnTo>
                <a:lnTo>
                  <a:pt x="1492" y="4089"/>
                </a:lnTo>
                <a:lnTo>
                  <a:pt x="1535" y="4080"/>
                </a:lnTo>
                <a:lnTo>
                  <a:pt x="1577" y="4070"/>
                </a:lnTo>
                <a:lnTo>
                  <a:pt x="1618" y="4058"/>
                </a:lnTo>
                <a:lnTo>
                  <a:pt x="1657" y="4044"/>
                </a:lnTo>
                <a:lnTo>
                  <a:pt x="1696" y="4029"/>
                </a:lnTo>
                <a:lnTo>
                  <a:pt x="1733" y="4013"/>
                </a:lnTo>
                <a:lnTo>
                  <a:pt x="1769" y="3995"/>
                </a:lnTo>
                <a:lnTo>
                  <a:pt x="1802" y="3975"/>
                </a:lnTo>
                <a:lnTo>
                  <a:pt x="1835" y="3955"/>
                </a:lnTo>
                <a:lnTo>
                  <a:pt x="1866" y="3934"/>
                </a:lnTo>
                <a:lnTo>
                  <a:pt x="1895" y="3911"/>
                </a:lnTo>
                <a:lnTo>
                  <a:pt x="1910" y="3898"/>
                </a:lnTo>
                <a:lnTo>
                  <a:pt x="1924" y="3887"/>
                </a:lnTo>
                <a:lnTo>
                  <a:pt x="1937" y="3874"/>
                </a:lnTo>
                <a:lnTo>
                  <a:pt x="1951" y="3861"/>
                </a:lnTo>
                <a:lnTo>
                  <a:pt x="1962" y="3847"/>
                </a:lnTo>
                <a:lnTo>
                  <a:pt x="1975" y="3833"/>
                </a:lnTo>
                <a:lnTo>
                  <a:pt x="1987" y="3819"/>
                </a:lnTo>
                <a:lnTo>
                  <a:pt x="1999" y="3804"/>
                </a:lnTo>
                <a:lnTo>
                  <a:pt x="2010" y="3789"/>
                </a:lnTo>
                <a:lnTo>
                  <a:pt x="2020" y="3774"/>
                </a:lnTo>
                <a:lnTo>
                  <a:pt x="2030" y="3759"/>
                </a:lnTo>
                <a:lnTo>
                  <a:pt x="2040" y="3743"/>
                </a:lnTo>
                <a:lnTo>
                  <a:pt x="2058" y="3711"/>
                </a:lnTo>
                <a:lnTo>
                  <a:pt x="2074" y="3677"/>
                </a:lnTo>
                <a:lnTo>
                  <a:pt x="2081" y="3660"/>
                </a:lnTo>
                <a:lnTo>
                  <a:pt x="2089" y="3641"/>
                </a:lnTo>
                <a:lnTo>
                  <a:pt x="2095" y="3623"/>
                </a:lnTo>
                <a:lnTo>
                  <a:pt x="2102" y="3605"/>
                </a:lnTo>
                <a:lnTo>
                  <a:pt x="2107" y="3586"/>
                </a:lnTo>
                <a:lnTo>
                  <a:pt x="2112" y="3568"/>
                </a:lnTo>
                <a:lnTo>
                  <a:pt x="2117" y="3548"/>
                </a:lnTo>
                <a:lnTo>
                  <a:pt x="2121" y="3528"/>
                </a:lnTo>
                <a:lnTo>
                  <a:pt x="2127" y="3488"/>
                </a:lnTo>
                <a:lnTo>
                  <a:pt x="2133" y="3447"/>
                </a:lnTo>
                <a:lnTo>
                  <a:pt x="2136" y="3405"/>
                </a:lnTo>
                <a:lnTo>
                  <a:pt x="2137" y="3361"/>
                </a:lnTo>
                <a:lnTo>
                  <a:pt x="2136" y="3337"/>
                </a:lnTo>
                <a:lnTo>
                  <a:pt x="2135" y="3314"/>
                </a:lnTo>
                <a:lnTo>
                  <a:pt x="2134" y="3291"/>
                </a:lnTo>
                <a:lnTo>
                  <a:pt x="2132" y="3269"/>
                </a:lnTo>
                <a:lnTo>
                  <a:pt x="2128" y="3247"/>
                </a:lnTo>
                <a:lnTo>
                  <a:pt x="2124" y="3226"/>
                </a:lnTo>
                <a:lnTo>
                  <a:pt x="2120" y="3205"/>
                </a:lnTo>
                <a:lnTo>
                  <a:pt x="2114" y="3184"/>
                </a:lnTo>
                <a:lnTo>
                  <a:pt x="2109" y="3164"/>
                </a:lnTo>
                <a:lnTo>
                  <a:pt x="2103" y="3145"/>
                </a:lnTo>
                <a:lnTo>
                  <a:pt x="2095" y="3125"/>
                </a:lnTo>
                <a:lnTo>
                  <a:pt x="2088" y="3106"/>
                </a:lnTo>
                <a:lnTo>
                  <a:pt x="2079" y="3088"/>
                </a:lnTo>
                <a:lnTo>
                  <a:pt x="2070" y="3070"/>
                </a:lnTo>
                <a:lnTo>
                  <a:pt x="2060" y="3053"/>
                </a:lnTo>
                <a:lnTo>
                  <a:pt x="2049" y="3035"/>
                </a:lnTo>
                <a:lnTo>
                  <a:pt x="2027" y="3002"/>
                </a:lnTo>
                <a:lnTo>
                  <a:pt x="2003" y="2970"/>
                </a:lnTo>
                <a:lnTo>
                  <a:pt x="1976" y="2938"/>
                </a:lnTo>
                <a:lnTo>
                  <a:pt x="1949" y="2908"/>
                </a:lnTo>
                <a:lnTo>
                  <a:pt x="1920" y="2879"/>
                </a:lnTo>
                <a:lnTo>
                  <a:pt x="1889" y="2850"/>
                </a:lnTo>
                <a:lnTo>
                  <a:pt x="1855" y="2823"/>
                </a:lnTo>
                <a:lnTo>
                  <a:pt x="1821" y="2797"/>
                </a:lnTo>
                <a:lnTo>
                  <a:pt x="1785" y="2772"/>
                </a:lnTo>
                <a:lnTo>
                  <a:pt x="1747" y="2747"/>
                </a:lnTo>
                <a:lnTo>
                  <a:pt x="1709" y="2723"/>
                </a:lnTo>
                <a:lnTo>
                  <a:pt x="1669" y="2699"/>
                </a:lnTo>
                <a:lnTo>
                  <a:pt x="1627" y="2676"/>
                </a:lnTo>
                <a:lnTo>
                  <a:pt x="1586" y="2653"/>
                </a:lnTo>
                <a:lnTo>
                  <a:pt x="1542" y="2632"/>
                </a:lnTo>
                <a:lnTo>
                  <a:pt x="1497" y="2610"/>
                </a:lnTo>
                <a:lnTo>
                  <a:pt x="1451" y="2589"/>
                </a:lnTo>
                <a:lnTo>
                  <a:pt x="1405" y="2567"/>
                </a:lnTo>
                <a:lnTo>
                  <a:pt x="1359" y="2546"/>
                </a:lnTo>
                <a:lnTo>
                  <a:pt x="1313" y="2524"/>
                </a:lnTo>
                <a:lnTo>
                  <a:pt x="1265" y="2502"/>
                </a:lnTo>
                <a:lnTo>
                  <a:pt x="1218" y="2480"/>
                </a:lnTo>
                <a:lnTo>
                  <a:pt x="1171" y="2458"/>
                </a:lnTo>
                <a:lnTo>
                  <a:pt x="1123" y="2436"/>
                </a:lnTo>
                <a:lnTo>
                  <a:pt x="1076" y="2414"/>
                </a:lnTo>
                <a:lnTo>
                  <a:pt x="1029" y="2391"/>
                </a:lnTo>
                <a:lnTo>
                  <a:pt x="982" y="2367"/>
                </a:lnTo>
                <a:lnTo>
                  <a:pt x="936" y="2344"/>
                </a:lnTo>
                <a:lnTo>
                  <a:pt x="890" y="2318"/>
                </a:lnTo>
                <a:lnTo>
                  <a:pt x="844" y="2293"/>
                </a:lnTo>
                <a:lnTo>
                  <a:pt x="798" y="2267"/>
                </a:lnTo>
                <a:lnTo>
                  <a:pt x="753" y="2241"/>
                </a:lnTo>
                <a:lnTo>
                  <a:pt x="708" y="2213"/>
                </a:lnTo>
                <a:lnTo>
                  <a:pt x="665" y="2184"/>
                </a:lnTo>
                <a:lnTo>
                  <a:pt x="622" y="2154"/>
                </a:lnTo>
                <a:lnTo>
                  <a:pt x="581" y="2123"/>
                </a:lnTo>
                <a:lnTo>
                  <a:pt x="542" y="2091"/>
                </a:lnTo>
                <a:lnTo>
                  <a:pt x="503" y="2058"/>
                </a:lnTo>
                <a:lnTo>
                  <a:pt x="466" y="2024"/>
                </a:lnTo>
                <a:lnTo>
                  <a:pt x="429" y="1987"/>
                </a:lnTo>
                <a:lnTo>
                  <a:pt x="412" y="1969"/>
                </a:lnTo>
                <a:lnTo>
                  <a:pt x="395" y="1951"/>
                </a:lnTo>
                <a:lnTo>
                  <a:pt x="378" y="1932"/>
                </a:lnTo>
                <a:lnTo>
                  <a:pt x="362" y="1911"/>
                </a:lnTo>
                <a:lnTo>
                  <a:pt x="346" y="1892"/>
                </a:lnTo>
                <a:lnTo>
                  <a:pt x="331" y="1872"/>
                </a:lnTo>
                <a:lnTo>
                  <a:pt x="316" y="1850"/>
                </a:lnTo>
                <a:lnTo>
                  <a:pt x="301" y="1830"/>
                </a:lnTo>
                <a:lnTo>
                  <a:pt x="287" y="1807"/>
                </a:lnTo>
                <a:lnTo>
                  <a:pt x="273" y="1786"/>
                </a:lnTo>
                <a:lnTo>
                  <a:pt x="259" y="1763"/>
                </a:lnTo>
                <a:lnTo>
                  <a:pt x="246" y="1741"/>
                </a:lnTo>
                <a:lnTo>
                  <a:pt x="234" y="1717"/>
                </a:lnTo>
                <a:lnTo>
                  <a:pt x="222" y="1694"/>
                </a:lnTo>
                <a:lnTo>
                  <a:pt x="210" y="1670"/>
                </a:lnTo>
                <a:lnTo>
                  <a:pt x="199" y="1646"/>
                </a:lnTo>
                <a:lnTo>
                  <a:pt x="188" y="1621"/>
                </a:lnTo>
                <a:lnTo>
                  <a:pt x="179" y="1595"/>
                </a:lnTo>
                <a:lnTo>
                  <a:pt x="169" y="1570"/>
                </a:lnTo>
                <a:lnTo>
                  <a:pt x="161" y="1543"/>
                </a:lnTo>
                <a:lnTo>
                  <a:pt x="153" y="1516"/>
                </a:lnTo>
                <a:lnTo>
                  <a:pt x="146" y="1488"/>
                </a:lnTo>
                <a:lnTo>
                  <a:pt x="139" y="1459"/>
                </a:lnTo>
                <a:lnTo>
                  <a:pt x="134" y="1430"/>
                </a:lnTo>
                <a:lnTo>
                  <a:pt x="128" y="1400"/>
                </a:lnTo>
                <a:lnTo>
                  <a:pt x="124" y="1370"/>
                </a:lnTo>
                <a:lnTo>
                  <a:pt x="120" y="1339"/>
                </a:lnTo>
                <a:lnTo>
                  <a:pt x="117" y="1308"/>
                </a:lnTo>
                <a:lnTo>
                  <a:pt x="115" y="1276"/>
                </a:lnTo>
                <a:lnTo>
                  <a:pt x="112" y="1243"/>
                </a:lnTo>
                <a:lnTo>
                  <a:pt x="111" y="1210"/>
                </a:lnTo>
                <a:lnTo>
                  <a:pt x="111" y="1176"/>
                </a:lnTo>
                <a:lnTo>
                  <a:pt x="111" y="1140"/>
                </a:lnTo>
                <a:lnTo>
                  <a:pt x="112" y="1106"/>
                </a:lnTo>
                <a:lnTo>
                  <a:pt x="115" y="1073"/>
                </a:lnTo>
                <a:lnTo>
                  <a:pt x="118" y="1039"/>
                </a:lnTo>
                <a:lnTo>
                  <a:pt x="121" y="1006"/>
                </a:lnTo>
                <a:lnTo>
                  <a:pt x="125" y="973"/>
                </a:lnTo>
                <a:lnTo>
                  <a:pt x="131" y="941"/>
                </a:lnTo>
                <a:lnTo>
                  <a:pt x="137" y="910"/>
                </a:lnTo>
                <a:lnTo>
                  <a:pt x="143" y="879"/>
                </a:lnTo>
                <a:lnTo>
                  <a:pt x="151" y="848"/>
                </a:lnTo>
                <a:lnTo>
                  <a:pt x="160" y="818"/>
                </a:lnTo>
                <a:lnTo>
                  <a:pt x="169" y="789"/>
                </a:lnTo>
                <a:lnTo>
                  <a:pt x="179" y="759"/>
                </a:lnTo>
                <a:lnTo>
                  <a:pt x="190" y="730"/>
                </a:lnTo>
                <a:lnTo>
                  <a:pt x="201" y="702"/>
                </a:lnTo>
                <a:lnTo>
                  <a:pt x="213" y="675"/>
                </a:lnTo>
                <a:lnTo>
                  <a:pt x="226" y="648"/>
                </a:lnTo>
                <a:lnTo>
                  <a:pt x="240" y="621"/>
                </a:lnTo>
                <a:lnTo>
                  <a:pt x="255" y="594"/>
                </a:lnTo>
                <a:lnTo>
                  <a:pt x="270" y="570"/>
                </a:lnTo>
                <a:lnTo>
                  <a:pt x="285" y="544"/>
                </a:lnTo>
                <a:lnTo>
                  <a:pt x="301" y="519"/>
                </a:lnTo>
                <a:lnTo>
                  <a:pt x="318" y="496"/>
                </a:lnTo>
                <a:lnTo>
                  <a:pt x="335" y="472"/>
                </a:lnTo>
                <a:lnTo>
                  <a:pt x="353" y="450"/>
                </a:lnTo>
                <a:lnTo>
                  <a:pt x="373" y="427"/>
                </a:lnTo>
                <a:lnTo>
                  <a:pt x="392" y="406"/>
                </a:lnTo>
                <a:lnTo>
                  <a:pt x="411" y="384"/>
                </a:lnTo>
                <a:lnTo>
                  <a:pt x="433" y="364"/>
                </a:lnTo>
                <a:lnTo>
                  <a:pt x="453" y="344"/>
                </a:lnTo>
                <a:lnTo>
                  <a:pt x="475" y="324"/>
                </a:lnTo>
                <a:lnTo>
                  <a:pt x="497" y="305"/>
                </a:lnTo>
                <a:lnTo>
                  <a:pt x="520" y="287"/>
                </a:lnTo>
                <a:lnTo>
                  <a:pt x="544" y="269"/>
                </a:lnTo>
                <a:lnTo>
                  <a:pt x="569" y="252"/>
                </a:lnTo>
                <a:lnTo>
                  <a:pt x="593" y="236"/>
                </a:lnTo>
                <a:lnTo>
                  <a:pt x="618" y="219"/>
                </a:lnTo>
                <a:lnTo>
                  <a:pt x="643" y="203"/>
                </a:lnTo>
                <a:lnTo>
                  <a:pt x="670" y="188"/>
                </a:lnTo>
                <a:lnTo>
                  <a:pt x="697" y="175"/>
                </a:lnTo>
                <a:lnTo>
                  <a:pt x="725" y="161"/>
                </a:lnTo>
                <a:lnTo>
                  <a:pt x="753" y="147"/>
                </a:lnTo>
                <a:lnTo>
                  <a:pt x="780" y="134"/>
                </a:lnTo>
                <a:lnTo>
                  <a:pt x="810" y="122"/>
                </a:lnTo>
                <a:lnTo>
                  <a:pt x="839" y="110"/>
                </a:lnTo>
                <a:lnTo>
                  <a:pt x="869" y="99"/>
                </a:lnTo>
                <a:lnTo>
                  <a:pt x="900" y="88"/>
                </a:lnTo>
                <a:lnTo>
                  <a:pt x="931" y="78"/>
                </a:lnTo>
                <a:lnTo>
                  <a:pt x="964" y="69"/>
                </a:lnTo>
                <a:lnTo>
                  <a:pt x="995" y="60"/>
                </a:lnTo>
                <a:lnTo>
                  <a:pt x="1027" y="51"/>
                </a:lnTo>
                <a:lnTo>
                  <a:pt x="1060" y="44"/>
                </a:lnTo>
                <a:lnTo>
                  <a:pt x="1092" y="37"/>
                </a:lnTo>
                <a:lnTo>
                  <a:pt x="1125" y="31"/>
                </a:lnTo>
                <a:lnTo>
                  <a:pt x="1158" y="25"/>
                </a:lnTo>
                <a:lnTo>
                  <a:pt x="1193" y="19"/>
                </a:lnTo>
                <a:lnTo>
                  <a:pt x="1227" y="15"/>
                </a:lnTo>
                <a:lnTo>
                  <a:pt x="1261" y="11"/>
                </a:lnTo>
                <a:lnTo>
                  <a:pt x="1295" y="7"/>
                </a:lnTo>
                <a:lnTo>
                  <a:pt x="1331" y="5"/>
                </a:lnTo>
                <a:lnTo>
                  <a:pt x="1366" y="3"/>
                </a:lnTo>
                <a:lnTo>
                  <a:pt x="1401" y="1"/>
                </a:lnTo>
                <a:lnTo>
                  <a:pt x="1438" y="0"/>
                </a:lnTo>
                <a:lnTo>
                  <a:pt x="1474" y="0"/>
                </a:lnTo>
                <a:lnTo>
                  <a:pt x="1511" y="0"/>
                </a:lnTo>
                <a:lnTo>
                  <a:pt x="1548" y="2"/>
                </a:lnTo>
                <a:lnTo>
                  <a:pt x="1586" y="4"/>
                </a:lnTo>
                <a:lnTo>
                  <a:pt x="1624" y="6"/>
                </a:lnTo>
                <a:lnTo>
                  <a:pt x="1662" y="11"/>
                </a:lnTo>
                <a:lnTo>
                  <a:pt x="1699" y="15"/>
                </a:lnTo>
                <a:lnTo>
                  <a:pt x="1737" y="20"/>
                </a:lnTo>
                <a:lnTo>
                  <a:pt x="1774" y="26"/>
                </a:lnTo>
                <a:lnTo>
                  <a:pt x="1811" y="33"/>
                </a:lnTo>
                <a:lnTo>
                  <a:pt x="1849" y="41"/>
                </a:lnTo>
                <a:lnTo>
                  <a:pt x="1885" y="48"/>
                </a:lnTo>
                <a:lnTo>
                  <a:pt x="1921" y="57"/>
                </a:lnTo>
                <a:lnTo>
                  <a:pt x="1956" y="65"/>
                </a:lnTo>
                <a:lnTo>
                  <a:pt x="1991" y="75"/>
                </a:lnTo>
                <a:lnTo>
                  <a:pt x="2025" y="85"/>
                </a:lnTo>
                <a:lnTo>
                  <a:pt x="2059" y="96"/>
                </a:lnTo>
                <a:lnTo>
                  <a:pt x="2091" y="107"/>
                </a:lnTo>
                <a:lnTo>
                  <a:pt x="2123" y="118"/>
                </a:lnTo>
                <a:lnTo>
                  <a:pt x="2154" y="130"/>
                </a:lnTo>
                <a:lnTo>
                  <a:pt x="2184" y="141"/>
                </a:lnTo>
                <a:lnTo>
                  <a:pt x="2214" y="154"/>
                </a:lnTo>
                <a:lnTo>
                  <a:pt x="2242" y="167"/>
                </a:lnTo>
                <a:lnTo>
                  <a:pt x="2269" y="180"/>
                </a:lnTo>
                <a:lnTo>
                  <a:pt x="2295" y="193"/>
                </a:lnTo>
                <a:lnTo>
                  <a:pt x="2320" y="206"/>
                </a:lnTo>
                <a:lnTo>
                  <a:pt x="2344" y="218"/>
                </a:lnTo>
                <a:lnTo>
                  <a:pt x="2364" y="230"/>
                </a:lnTo>
                <a:lnTo>
                  <a:pt x="2382" y="242"/>
                </a:lnTo>
                <a:lnTo>
                  <a:pt x="2398" y="252"/>
                </a:lnTo>
                <a:lnTo>
                  <a:pt x="2412" y="262"/>
                </a:lnTo>
                <a:lnTo>
                  <a:pt x="2424" y="271"/>
                </a:lnTo>
                <a:lnTo>
                  <a:pt x="2432" y="279"/>
                </a:lnTo>
                <a:lnTo>
                  <a:pt x="2447" y="296"/>
                </a:lnTo>
                <a:lnTo>
                  <a:pt x="2460" y="309"/>
                </a:lnTo>
                <a:lnTo>
                  <a:pt x="2470" y="321"/>
                </a:lnTo>
                <a:lnTo>
                  <a:pt x="2476" y="332"/>
                </a:lnTo>
                <a:lnTo>
                  <a:pt x="2482" y="342"/>
                </a:lnTo>
                <a:lnTo>
                  <a:pt x="2486" y="353"/>
                </a:lnTo>
                <a:lnTo>
                  <a:pt x="2490" y="366"/>
                </a:lnTo>
                <a:lnTo>
                  <a:pt x="2493" y="380"/>
                </a:lnTo>
                <a:lnTo>
                  <a:pt x="2497" y="396"/>
                </a:lnTo>
                <a:lnTo>
                  <a:pt x="2499" y="413"/>
                </a:lnTo>
                <a:lnTo>
                  <a:pt x="2502" y="431"/>
                </a:lnTo>
                <a:lnTo>
                  <a:pt x="2503" y="451"/>
                </a:lnTo>
                <a:lnTo>
                  <a:pt x="2505" y="473"/>
                </a:lnTo>
                <a:lnTo>
                  <a:pt x="2506" y="499"/>
                </a:lnTo>
                <a:lnTo>
                  <a:pt x="2507" y="528"/>
                </a:lnTo>
                <a:lnTo>
                  <a:pt x="2507" y="559"/>
                </a:lnTo>
                <a:lnTo>
                  <a:pt x="2507" y="589"/>
                </a:lnTo>
                <a:lnTo>
                  <a:pt x="2506" y="618"/>
                </a:lnTo>
                <a:lnTo>
                  <a:pt x="2504" y="645"/>
                </a:lnTo>
                <a:lnTo>
                  <a:pt x="2502" y="670"/>
                </a:lnTo>
                <a:lnTo>
                  <a:pt x="2499" y="693"/>
                </a:lnTo>
                <a:lnTo>
                  <a:pt x="2496" y="714"/>
                </a:lnTo>
                <a:lnTo>
                  <a:pt x="2491" y="733"/>
                </a:lnTo>
                <a:lnTo>
                  <a:pt x="2487" y="752"/>
                </a:lnTo>
                <a:lnTo>
                  <a:pt x="2481" y="767"/>
                </a:lnTo>
                <a:lnTo>
                  <a:pt x="2474" y="779"/>
                </a:lnTo>
                <a:lnTo>
                  <a:pt x="2466" y="791"/>
                </a:lnTo>
                <a:lnTo>
                  <a:pt x="2457" y="800"/>
                </a:lnTo>
                <a:lnTo>
                  <a:pt x="2447" y="806"/>
                </a:lnTo>
                <a:lnTo>
                  <a:pt x="2437" y="812"/>
                </a:lnTo>
                <a:lnTo>
                  <a:pt x="2426" y="815"/>
                </a:lnTo>
                <a:lnTo>
                  <a:pt x="2413" y="816"/>
                </a:lnTo>
                <a:lnTo>
                  <a:pt x="2404" y="815"/>
                </a:lnTo>
                <a:lnTo>
                  <a:pt x="2392" y="813"/>
                </a:lnTo>
                <a:lnTo>
                  <a:pt x="2379" y="808"/>
                </a:lnTo>
                <a:lnTo>
                  <a:pt x="2365" y="803"/>
                </a:lnTo>
                <a:lnTo>
                  <a:pt x="2349" y="797"/>
                </a:lnTo>
                <a:lnTo>
                  <a:pt x="2332" y="788"/>
                </a:lnTo>
                <a:lnTo>
                  <a:pt x="2314" y="778"/>
                </a:lnTo>
                <a:lnTo>
                  <a:pt x="2294" y="767"/>
                </a:lnTo>
                <a:lnTo>
                  <a:pt x="2273" y="755"/>
                </a:lnTo>
                <a:lnTo>
                  <a:pt x="2252" y="742"/>
                </a:lnTo>
                <a:lnTo>
                  <a:pt x="2228" y="728"/>
                </a:lnTo>
                <a:lnTo>
                  <a:pt x="2203" y="715"/>
                </a:lnTo>
                <a:lnTo>
                  <a:pt x="2178" y="701"/>
                </a:lnTo>
                <a:lnTo>
                  <a:pt x="2152" y="687"/>
                </a:lnTo>
                <a:lnTo>
                  <a:pt x="2124" y="672"/>
                </a:lnTo>
                <a:lnTo>
                  <a:pt x="2095" y="657"/>
                </a:lnTo>
                <a:lnTo>
                  <a:pt x="2065" y="642"/>
                </a:lnTo>
                <a:lnTo>
                  <a:pt x="2033" y="627"/>
                </a:lnTo>
                <a:lnTo>
                  <a:pt x="2000" y="614"/>
                </a:lnTo>
                <a:lnTo>
                  <a:pt x="1966" y="600"/>
                </a:lnTo>
                <a:lnTo>
                  <a:pt x="1930" y="586"/>
                </a:lnTo>
                <a:lnTo>
                  <a:pt x="1894" y="573"/>
                </a:lnTo>
                <a:lnTo>
                  <a:pt x="1855" y="560"/>
                </a:lnTo>
                <a:lnTo>
                  <a:pt x="1816" y="547"/>
                </a:lnTo>
                <a:lnTo>
                  <a:pt x="1775" y="535"/>
                </a:lnTo>
                <a:lnTo>
                  <a:pt x="1732" y="525"/>
                </a:lnTo>
                <a:lnTo>
                  <a:pt x="1689" y="516"/>
                </a:lnTo>
                <a:lnTo>
                  <a:pt x="1644" y="509"/>
                </a:lnTo>
                <a:lnTo>
                  <a:pt x="1598" y="503"/>
                </a:lnTo>
                <a:lnTo>
                  <a:pt x="1551" y="499"/>
                </a:lnTo>
                <a:lnTo>
                  <a:pt x="1503" y="497"/>
                </a:lnTo>
                <a:lnTo>
                  <a:pt x="1454" y="496"/>
                </a:lnTo>
                <a:lnTo>
                  <a:pt x="1408" y="497"/>
                </a:lnTo>
                <a:lnTo>
                  <a:pt x="1363" y="499"/>
                </a:lnTo>
                <a:lnTo>
                  <a:pt x="1319" y="503"/>
                </a:lnTo>
                <a:lnTo>
                  <a:pt x="1278" y="509"/>
                </a:lnTo>
                <a:lnTo>
                  <a:pt x="1238" y="516"/>
                </a:lnTo>
                <a:lnTo>
                  <a:pt x="1199" y="525"/>
                </a:lnTo>
                <a:lnTo>
                  <a:pt x="1163" y="535"/>
                </a:lnTo>
                <a:lnTo>
                  <a:pt x="1127" y="547"/>
                </a:lnTo>
                <a:lnTo>
                  <a:pt x="1093" y="560"/>
                </a:lnTo>
                <a:lnTo>
                  <a:pt x="1061" y="574"/>
                </a:lnTo>
                <a:lnTo>
                  <a:pt x="1030" y="589"/>
                </a:lnTo>
                <a:lnTo>
                  <a:pt x="1001" y="605"/>
                </a:lnTo>
                <a:lnTo>
                  <a:pt x="973" y="623"/>
                </a:lnTo>
                <a:lnTo>
                  <a:pt x="946" y="641"/>
                </a:lnTo>
                <a:lnTo>
                  <a:pt x="922" y="661"/>
                </a:lnTo>
                <a:lnTo>
                  <a:pt x="898" y="681"/>
                </a:lnTo>
                <a:lnTo>
                  <a:pt x="877" y="701"/>
                </a:lnTo>
                <a:lnTo>
                  <a:pt x="857" y="724"/>
                </a:lnTo>
                <a:lnTo>
                  <a:pt x="837" y="747"/>
                </a:lnTo>
                <a:lnTo>
                  <a:pt x="819" y="771"/>
                </a:lnTo>
                <a:lnTo>
                  <a:pt x="803" y="797"/>
                </a:lnTo>
                <a:lnTo>
                  <a:pt x="789" y="822"/>
                </a:lnTo>
                <a:lnTo>
                  <a:pt x="775" y="850"/>
                </a:lnTo>
                <a:lnTo>
                  <a:pt x="763" y="878"/>
                </a:lnTo>
                <a:lnTo>
                  <a:pt x="753" y="907"/>
                </a:lnTo>
                <a:lnTo>
                  <a:pt x="743" y="936"/>
                </a:lnTo>
                <a:lnTo>
                  <a:pt x="736" y="966"/>
                </a:lnTo>
                <a:lnTo>
                  <a:pt x="729" y="996"/>
                </a:lnTo>
                <a:lnTo>
                  <a:pt x="724" y="1026"/>
                </a:lnTo>
                <a:lnTo>
                  <a:pt x="721" y="1057"/>
                </a:lnTo>
                <a:lnTo>
                  <a:pt x="718" y="1089"/>
                </a:lnTo>
                <a:lnTo>
                  <a:pt x="717" y="1121"/>
                </a:lnTo>
                <a:lnTo>
                  <a:pt x="717" y="1145"/>
                </a:lnTo>
                <a:lnTo>
                  <a:pt x="718" y="1167"/>
                </a:lnTo>
                <a:lnTo>
                  <a:pt x="721" y="1190"/>
                </a:lnTo>
                <a:lnTo>
                  <a:pt x="723" y="1211"/>
                </a:lnTo>
                <a:lnTo>
                  <a:pt x="726" y="1232"/>
                </a:lnTo>
                <a:lnTo>
                  <a:pt x="730" y="1254"/>
                </a:lnTo>
                <a:lnTo>
                  <a:pt x="734" y="1274"/>
                </a:lnTo>
                <a:lnTo>
                  <a:pt x="740" y="1294"/>
                </a:lnTo>
                <a:lnTo>
                  <a:pt x="745" y="1315"/>
                </a:lnTo>
                <a:lnTo>
                  <a:pt x="752" y="1334"/>
                </a:lnTo>
                <a:lnTo>
                  <a:pt x="759" y="1353"/>
                </a:lnTo>
                <a:lnTo>
                  <a:pt x="767" y="1373"/>
                </a:lnTo>
                <a:lnTo>
                  <a:pt x="775" y="1391"/>
                </a:lnTo>
                <a:lnTo>
                  <a:pt x="785" y="1408"/>
                </a:lnTo>
                <a:lnTo>
                  <a:pt x="794" y="1426"/>
                </a:lnTo>
                <a:lnTo>
                  <a:pt x="805" y="1443"/>
                </a:lnTo>
                <a:lnTo>
                  <a:pt x="828" y="1476"/>
                </a:lnTo>
                <a:lnTo>
                  <a:pt x="852" y="1509"/>
                </a:lnTo>
                <a:lnTo>
                  <a:pt x="878" y="1540"/>
                </a:lnTo>
                <a:lnTo>
                  <a:pt x="906" y="1571"/>
                </a:lnTo>
                <a:lnTo>
                  <a:pt x="936" y="1600"/>
                </a:lnTo>
                <a:lnTo>
                  <a:pt x="967" y="1629"/>
                </a:lnTo>
                <a:lnTo>
                  <a:pt x="1000" y="1655"/>
                </a:lnTo>
                <a:lnTo>
                  <a:pt x="1035" y="1682"/>
                </a:lnTo>
                <a:lnTo>
                  <a:pt x="1073" y="1708"/>
                </a:lnTo>
                <a:lnTo>
                  <a:pt x="1110" y="1733"/>
                </a:lnTo>
                <a:lnTo>
                  <a:pt x="1149" y="1758"/>
                </a:lnTo>
                <a:lnTo>
                  <a:pt x="1189" y="1783"/>
                </a:lnTo>
                <a:lnTo>
                  <a:pt x="1231" y="1806"/>
                </a:lnTo>
                <a:lnTo>
                  <a:pt x="1273" y="1829"/>
                </a:lnTo>
                <a:lnTo>
                  <a:pt x="1317" y="1851"/>
                </a:lnTo>
                <a:lnTo>
                  <a:pt x="1363" y="1873"/>
                </a:lnTo>
                <a:lnTo>
                  <a:pt x="1409" y="1894"/>
                </a:lnTo>
                <a:lnTo>
                  <a:pt x="1455" y="1917"/>
                </a:lnTo>
                <a:lnTo>
                  <a:pt x="1502" y="1938"/>
                </a:lnTo>
                <a:lnTo>
                  <a:pt x="1548" y="1959"/>
                </a:lnTo>
                <a:lnTo>
                  <a:pt x="1595" y="1982"/>
                </a:lnTo>
                <a:lnTo>
                  <a:pt x="1642" y="2003"/>
                </a:lnTo>
                <a:lnTo>
                  <a:pt x="1689" y="2026"/>
                </a:lnTo>
                <a:lnTo>
                  <a:pt x="1738" y="2048"/>
                </a:lnTo>
                <a:lnTo>
                  <a:pt x="1785" y="2071"/>
                </a:lnTo>
                <a:lnTo>
                  <a:pt x="1833" y="2093"/>
                </a:lnTo>
                <a:lnTo>
                  <a:pt x="1880" y="2117"/>
                </a:lnTo>
                <a:lnTo>
                  <a:pt x="1926" y="2141"/>
                </a:lnTo>
                <a:lnTo>
                  <a:pt x="1973" y="2165"/>
                </a:lnTo>
                <a:lnTo>
                  <a:pt x="2020" y="2191"/>
                </a:lnTo>
                <a:lnTo>
                  <a:pt x="2066" y="2216"/>
                </a:lnTo>
                <a:lnTo>
                  <a:pt x="2112" y="2242"/>
                </a:lnTo>
                <a:lnTo>
                  <a:pt x="2157" y="2269"/>
                </a:lnTo>
                <a:lnTo>
                  <a:pt x="2201" y="2298"/>
                </a:lnTo>
                <a:lnTo>
                  <a:pt x="2244" y="2327"/>
                </a:lnTo>
                <a:lnTo>
                  <a:pt x="2286" y="2358"/>
                </a:lnTo>
                <a:lnTo>
                  <a:pt x="2326" y="2390"/>
                </a:lnTo>
                <a:lnTo>
                  <a:pt x="2365" y="2422"/>
                </a:lnTo>
                <a:lnTo>
                  <a:pt x="2404" y="2456"/>
                </a:lnTo>
                <a:lnTo>
                  <a:pt x="2440" y="2491"/>
                </a:lnTo>
                <a:lnTo>
                  <a:pt x="2457" y="2510"/>
                </a:lnTo>
                <a:lnTo>
                  <a:pt x="2475" y="2529"/>
                </a:lnTo>
                <a:lnTo>
                  <a:pt x="2491" y="2547"/>
                </a:lnTo>
                <a:lnTo>
                  <a:pt x="2508" y="2566"/>
                </a:lnTo>
                <a:lnTo>
                  <a:pt x="2525" y="2587"/>
                </a:lnTo>
                <a:lnTo>
                  <a:pt x="2540" y="2607"/>
                </a:lnTo>
                <a:lnTo>
                  <a:pt x="2556" y="2627"/>
                </a:lnTo>
                <a:lnTo>
                  <a:pt x="2570" y="2649"/>
                </a:lnTo>
                <a:lnTo>
                  <a:pt x="2584" y="2670"/>
                </a:lnTo>
                <a:lnTo>
                  <a:pt x="2598" y="2692"/>
                </a:lnTo>
                <a:lnTo>
                  <a:pt x="2611" y="2714"/>
                </a:lnTo>
                <a:lnTo>
                  <a:pt x="2624" y="2737"/>
                </a:lnTo>
                <a:lnTo>
                  <a:pt x="2637" y="2760"/>
                </a:lnTo>
                <a:lnTo>
                  <a:pt x="2649" y="2784"/>
                </a:lnTo>
                <a:lnTo>
                  <a:pt x="2661" y="2807"/>
                </a:lnTo>
                <a:lnTo>
                  <a:pt x="2671" y="2832"/>
                </a:lnTo>
                <a:lnTo>
                  <a:pt x="2683" y="2857"/>
                </a:lnTo>
                <a:lnTo>
                  <a:pt x="2693" y="2882"/>
                </a:lnTo>
                <a:lnTo>
                  <a:pt x="2702" y="2908"/>
                </a:lnTo>
                <a:lnTo>
                  <a:pt x="2711" y="2935"/>
                </a:lnTo>
                <a:lnTo>
                  <a:pt x="2718" y="2962"/>
                </a:lnTo>
                <a:lnTo>
                  <a:pt x="2726" y="2989"/>
                </a:lnTo>
                <a:lnTo>
                  <a:pt x="2732" y="3017"/>
                </a:lnTo>
                <a:lnTo>
                  <a:pt x="2739" y="3046"/>
                </a:lnTo>
                <a:lnTo>
                  <a:pt x="2744" y="3075"/>
                </a:lnTo>
                <a:lnTo>
                  <a:pt x="2748" y="3105"/>
                </a:lnTo>
                <a:lnTo>
                  <a:pt x="2752" y="3135"/>
                </a:lnTo>
                <a:lnTo>
                  <a:pt x="2755" y="3166"/>
                </a:lnTo>
                <a:lnTo>
                  <a:pt x="2757" y="3197"/>
                </a:lnTo>
                <a:lnTo>
                  <a:pt x="2759" y="3229"/>
                </a:lnTo>
                <a:lnTo>
                  <a:pt x="2760" y="3262"/>
                </a:lnTo>
                <a:lnTo>
                  <a:pt x="2760" y="32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TextBox 79"/>
          <p:cNvSpPr txBox="1"/>
          <p:nvPr/>
        </p:nvSpPr>
        <p:spPr>
          <a:xfrm>
            <a:off x="1842567" y="1763763"/>
            <a:ext cx="8669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2A9B18"/>
                </a:solidFill>
              </a:rPr>
              <a:t>STRENGTH</a:t>
            </a:r>
            <a:endParaRPr lang="en-US" sz="1200" b="1" dirty="0">
              <a:solidFill>
                <a:srgbClr val="2A9B18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13414" y="1763763"/>
            <a:ext cx="894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0D65AC"/>
                </a:solidFill>
              </a:rPr>
              <a:t>WEAKNESS</a:t>
            </a:r>
            <a:endParaRPr lang="en-US" sz="1200" b="1" dirty="0">
              <a:solidFill>
                <a:srgbClr val="0D65AC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716347" y="3956723"/>
            <a:ext cx="11193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E99E09"/>
                </a:solidFill>
              </a:rPr>
              <a:t>OPPORTUNITY</a:t>
            </a:r>
            <a:endParaRPr lang="en-US" sz="1200" b="1" dirty="0">
              <a:solidFill>
                <a:srgbClr val="E99E09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222098" y="3956723"/>
            <a:ext cx="677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CE202A"/>
                </a:solidFill>
              </a:rPr>
              <a:t>THREAT</a:t>
            </a:r>
            <a:endParaRPr lang="en-US" sz="1200" b="1" dirty="0">
              <a:solidFill>
                <a:srgbClr val="CE202A"/>
              </a:solidFill>
            </a:endParaRPr>
          </a:p>
        </p:txBody>
      </p:sp>
      <p:sp>
        <p:nvSpPr>
          <p:cNvPr id="84" name="Rectangle 33"/>
          <p:cNvSpPr>
            <a:spLocks/>
          </p:cNvSpPr>
          <p:nvPr/>
        </p:nvSpPr>
        <p:spPr bwMode="auto">
          <a:xfrm>
            <a:off x="1218801" y="2150726"/>
            <a:ext cx="2139814" cy="108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LOREM IPSUM is </a:t>
            </a:r>
            <a:r>
              <a:rPr lang="en-US" sz="1100" dirty="0">
                <a:solidFill>
                  <a:schemeClr val="bg1"/>
                </a:solidFill>
              </a:rPr>
              <a:t>simply dummy </a:t>
            </a:r>
            <a:endParaRPr lang="en-US" sz="11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text </a:t>
            </a:r>
            <a:r>
              <a:rPr lang="en-US" sz="1100" dirty="0">
                <a:solidFill>
                  <a:schemeClr val="bg1"/>
                </a:solidFill>
              </a:rPr>
              <a:t>of the printing and </a:t>
            </a:r>
            <a:r>
              <a:rPr lang="en-US" sz="1100" dirty="0" smtClean="0">
                <a:solidFill>
                  <a:schemeClr val="bg1"/>
                </a:solidFill>
              </a:rPr>
              <a:t>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LOREM IPSUM is simply dumm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text of the printing and 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5" name="Rectangle 33"/>
          <p:cNvSpPr>
            <a:spLocks/>
          </p:cNvSpPr>
          <p:nvPr/>
        </p:nvSpPr>
        <p:spPr bwMode="auto">
          <a:xfrm>
            <a:off x="1218801" y="4360902"/>
            <a:ext cx="2139814" cy="108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LOREM IPSUM is </a:t>
            </a:r>
            <a:r>
              <a:rPr lang="en-US" sz="1100" dirty="0">
                <a:solidFill>
                  <a:schemeClr val="bg1"/>
                </a:solidFill>
              </a:rPr>
              <a:t>simply dummy </a:t>
            </a:r>
            <a:endParaRPr lang="en-US" sz="11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text </a:t>
            </a:r>
            <a:r>
              <a:rPr lang="en-US" sz="1100" dirty="0">
                <a:solidFill>
                  <a:schemeClr val="bg1"/>
                </a:solidFill>
              </a:rPr>
              <a:t>of the printing and </a:t>
            </a:r>
            <a:r>
              <a:rPr lang="en-US" sz="1100" dirty="0" smtClean="0">
                <a:solidFill>
                  <a:schemeClr val="bg1"/>
                </a:solidFill>
              </a:rPr>
              <a:t>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LOREM IPSUM is simply dumm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text of the printing and 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6" name="Rectangle 33"/>
          <p:cNvSpPr>
            <a:spLocks/>
          </p:cNvSpPr>
          <p:nvPr/>
        </p:nvSpPr>
        <p:spPr bwMode="auto">
          <a:xfrm>
            <a:off x="5526373" y="2150726"/>
            <a:ext cx="2139814" cy="108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LOREM IPSUM is </a:t>
            </a:r>
            <a:r>
              <a:rPr lang="en-US" sz="1100" dirty="0">
                <a:solidFill>
                  <a:schemeClr val="bg1"/>
                </a:solidFill>
              </a:rPr>
              <a:t>simply dummy </a:t>
            </a:r>
            <a:endParaRPr lang="en-US" sz="11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text </a:t>
            </a:r>
            <a:r>
              <a:rPr lang="en-US" sz="1100" dirty="0">
                <a:solidFill>
                  <a:schemeClr val="bg1"/>
                </a:solidFill>
              </a:rPr>
              <a:t>of the printing and </a:t>
            </a:r>
            <a:r>
              <a:rPr lang="en-US" sz="1100" dirty="0" smtClean="0">
                <a:solidFill>
                  <a:schemeClr val="bg1"/>
                </a:solidFill>
              </a:rPr>
              <a:t>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LOREM IPSUM is simply dumm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text of the printing and 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7" name="Rectangle 33"/>
          <p:cNvSpPr>
            <a:spLocks/>
          </p:cNvSpPr>
          <p:nvPr/>
        </p:nvSpPr>
        <p:spPr bwMode="auto">
          <a:xfrm>
            <a:off x="5526373" y="4360902"/>
            <a:ext cx="2139814" cy="108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LOREM IPSUM is </a:t>
            </a:r>
            <a:r>
              <a:rPr lang="en-US" sz="1100" dirty="0">
                <a:solidFill>
                  <a:schemeClr val="bg1"/>
                </a:solidFill>
              </a:rPr>
              <a:t>simply dummy </a:t>
            </a:r>
            <a:endParaRPr lang="en-US" sz="11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</a:rPr>
              <a:t>text </a:t>
            </a:r>
            <a:r>
              <a:rPr lang="en-US" sz="1100" dirty="0">
                <a:solidFill>
                  <a:schemeClr val="bg1"/>
                </a:solidFill>
              </a:rPr>
              <a:t>of the printing and </a:t>
            </a:r>
            <a:r>
              <a:rPr lang="en-US" sz="1100" dirty="0" smtClean="0">
                <a:solidFill>
                  <a:schemeClr val="bg1"/>
                </a:solidFill>
              </a:rPr>
              <a:t>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LOREM IPSUM is simply dumm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</a:rPr>
              <a:t>text of the printing and types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573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/>
          <p:cNvSpPr/>
          <p:nvPr/>
        </p:nvSpPr>
        <p:spPr>
          <a:xfrm rot="16200000">
            <a:off x="1494703" y="2676235"/>
            <a:ext cx="1521904" cy="390441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162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0" name="Rectangle 89"/>
          <p:cNvSpPr/>
          <p:nvPr/>
        </p:nvSpPr>
        <p:spPr>
          <a:xfrm rot="16200000">
            <a:off x="1494703" y="4594148"/>
            <a:ext cx="1521904" cy="390441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162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55839" y="1600200"/>
            <a:ext cx="1723603" cy="390441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162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706797" y="1600200"/>
            <a:ext cx="1723603" cy="390441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162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4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328483" y="1853076"/>
            <a:ext cx="4487034" cy="39466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Freeform 5"/>
          <p:cNvSpPr>
            <a:spLocks noEditPoints="1"/>
          </p:cNvSpPr>
          <p:nvPr/>
        </p:nvSpPr>
        <p:spPr bwMode="auto">
          <a:xfrm>
            <a:off x="3028074" y="4210941"/>
            <a:ext cx="802596" cy="924684"/>
          </a:xfrm>
          <a:custGeom>
            <a:avLst/>
            <a:gdLst>
              <a:gd name="T0" fmla="*/ 3981 w 4013"/>
              <a:gd name="T1" fmla="*/ 2776 h 4620"/>
              <a:gd name="T2" fmla="*/ 3867 w 4013"/>
              <a:gd name="T3" fmla="*/ 3293 h 4620"/>
              <a:gd name="T4" fmla="*/ 3675 w 4013"/>
              <a:gd name="T5" fmla="*/ 3735 h 4620"/>
              <a:gd name="T6" fmla="*/ 3400 w 4013"/>
              <a:gd name="T7" fmla="*/ 4093 h 4620"/>
              <a:gd name="T8" fmla="*/ 3045 w 4013"/>
              <a:gd name="T9" fmla="*/ 4364 h 4620"/>
              <a:gd name="T10" fmla="*/ 2607 w 4013"/>
              <a:gd name="T11" fmla="*/ 4542 h 4620"/>
              <a:gd name="T12" fmla="*/ 2089 w 4013"/>
              <a:gd name="T13" fmla="*/ 4618 h 4620"/>
              <a:gd name="T14" fmla="*/ 1546 w 4013"/>
              <a:gd name="T15" fmla="*/ 4591 h 4620"/>
              <a:gd name="T16" fmla="*/ 1088 w 4013"/>
              <a:gd name="T17" fmla="*/ 4468 h 4620"/>
              <a:gd name="T18" fmla="*/ 712 w 4013"/>
              <a:gd name="T19" fmla="*/ 4256 h 4620"/>
              <a:gd name="T20" fmla="*/ 419 w 4013"/>
              <a:gd name="T21" fmla="*/ 3956 h 4620"/>
              <a:gd name="T22" fmla="*/ 204 w 4013"/>
              <a:gd name="T23" fmla="*/ 3569 h 4620"/>
              <a:gd name="T24" fmla="*/ 66 w 4013"/>
              <a:gd name="T25" fmla="*/ 3094 h 4620"/>
              <a:gd name="T26" fmla="*/ 3 w 4013"/>
              <a:gd name="T27" fmla="*/ 2538 h 4620"/>
              <a:gd name="T28" fmla="*/ 17 w 4013"/>
              <a:gd name="T29" fmla="*/ 1950 h 4620"/>
              <a:gd name="T30" fmla="*/ 113 w 4013"/>
              <a:gd name="T31" fmla="*/ 1425 h 4620"/>
              <a:gd name="T32" fmla="*/ 288 w 4013"/>
              <a:gd name="T33" fmla="*/ 969 h 4620"/>
              <a:gd name="T34" fmla="*/ 546 w 4013"/>
              <a:gd name="T35" fmla="*/ 596 h 4620"/>
              <a:gd name="T36" fmla="*/ 884 w 4013"/>
              <a:gd name="T37" fmla="*/ 308 h 4620"/>
              <a:gd name="T38" fmla="*/ 1303 w 4013"/>
              <a:gd name="T39" fmla="*/ 109 h 4620"/>
              <a:gd name="T40" fmla="*/ 1804 w 4013"/>
              <a:gd name="T41" fmla="*/ 11 h 4620"/>
              <a:gd name="T42" fmla="*/ 2350 w 4013"/>
              <a:gd name="T43" fmla="*/ 15 h 4620"/>
              <a:gd name="T44" fmla="*/ 2822 w 4013"/>
              <a:gd name="T45" fmla="*/ 115 h 4620"/>
              <a:gd name="T46" fmla="*/ 3214 w 4013"/>
              <a:gd name="T47" fmla="*/ 306 h 4620"/>
              <a:gd name="T48" fmla="*/ 3529 w 4013"/>
              <a:gd name="T49" fmla="*/ 585 h 4620"/>
              <a:gd name="T50" fmla="*/ 3764 w 4013"/>
              <a:gd name="T51" fmla="*/ 950 h 4620"/>
              <a:gd name="T52" fmla="*/ 3921 w 4013"/>
              <a:gd name="T53" fmla="*/ 1399 h 4620"/>
              <a:gd name="T54" fmla="*/ 4001 w 4013"/>
              <a:gd name="T55" fmla="*/ 1930 h 4620"/>
              <a:gd name="T56" fmla="*/ 3381 w 4013"/>
              <a:gd name="T57" fmla="*/ 2158 h 4620"/>
              <a:gd name="T58" fmla="*/ 3346 w 4013"/>
              <a:gd name="T59" fmla="*/ 1758 h 4620"/>
              <a:gd name="T60" fmla="*/ 3266 w 4013"/>
              <a:gd name="T61" fmla="*/ 1394 h 4620"/>
              <a:gd name="T62" fmla="*/ 3130 w 4013"/>
              <a:gd name="T63" fmla="*/ 1084 h 4620"/>
              <a:gd name="T64" fmla="*/ 2933 w 4013"/>
              <a:gd name="T65" fmla="*/ 831 h 4620"/>
              <a:gd name="T66" fmla="*/ 2670 w 4013"/>
              <a:gd name="T67" fmla="*/ 646 h 4620"/>
              <a:gd name="T68" fmla="*/ 2334 w 4013"/>
              <a:gd name="T69" fmla="*/ 536 h 4620"/>
              <a:gd name="T70" fmla="*/ 1923 w 4013"/>
              <a:gd name="T71" fmla="*/ 513 h 4620"/>
              <a:gd name="T72" fmla="*/ 1543 w 4013"/>
              <a:gd name="T73" fmla="*/ 579 h 4620"/>
              <a:gd name="T74" fmla="*/ 1240 w 4013"/>
              <a:gd name="T75" fmla="*/ 734 h 4620"/>
              <a:gd name="T76" fmla="*/ 1003 w 4013"/>
              <a:gd name="T77" fmla="*/ 956 h 4620"/>
              <a:gd name="T78" fmla="*/ 828 w 4013"/>
              <a:gd name="T79" fmla="*/ 1238 h 4620"/>
              <a:gd name="T80" fmla="*/ 711 w 4013"/>
              <a:gd name="T81" fmla="*/ 1571 h 4620"/>
              <a:gd name="T82" fmla="*/ 648 w 4013"/>
              <a:gd name="T83" fmla="*/ 1944 h 4620"/>
              <a:gd name="T84" fmla="*/ 631 w 4013"/>
              <a:gd name="T85" fmla="*/ 2342 h 4620"/>
              <a:gd name="T86" fmla="*/ 656 w 4013"/>
              <a:gd name="T87" fmla="*/ 2762 h 4620"/>
              <a:gd name="T88" fmla="*/ 725 w 4013"/>
              <a:gd name="T89" fmla="*/ 3142 h 4620"/>
              <a:gd name="T90" fmla="*/ 846 w 4013"/>
              <a:gd name="T91" fmla="*/ 3469 h 4620"/>
              <a:gd name="T92" fmla="*/ 1026 w 4013"/>
              <a:gd name="T93" fmla="*/ 3736 h 4620"/>
              <a:gd name="T94" fmla="*/ 1272 w 4013"/>
              <a:gd name="T95" fmla="*/ 3934 h 4620"/>
              <a:gd name="T96" fmla="*/ 1591 w 4013"/>
              <a:gd name="T97" fmla="*/ 4061 h 4620"/>
              <a:gd name="T98" fmla="*/ 1995 w 4013"/>
              <a:gd name="T99" fmla="*/ 4103 h 4620"/>
              <a:gd name="T100" fmla="*/ 2395 w 4013"/>
              <a:gd name="T101" fmla="*/ 4057 h 4620"/>
              <a:gd name="T102" fmla="*/ 2717 w 4013"/>
              <a:gd name="T103" fmla="*/ 3919 h 4620"/>
              <a:gd name="T104" fmla="*/ 2971 w 4013"/>
              <a:gd name="T105" fmla="*/ 3709 h 4620"/>
              <a:gd name="T106" fmla="*/ 3158 w 4013"/>
              <a:gd name="T107" fmla="*/ 3435 h 4620"/>
              <a:gd name="T108" fmla="*/ 3286 w 4013"/>
              <a:gd name="T109" fmla="*/ 3109 h 4620"/>
              <a:gd name="T110" fmla="*/ 3358 w 4013"/>
              <a:gd name="T111" fmla="*/ 2740 h 4620"/>
              <a:gd name="T112" fmla="*/ 3383 w 4013"/>
              <a:gd name="T113" fmla="*/ 2345 h 4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013" h="4620">
                <a:moveTo>
                  <a:pt x="4013" y="2258"/>
                </a:moveTo>
                <a:lnTo>
                  <a:pt x="4012" y="2326"/>
                </a:lnTo>
                <a:lnTo>
                  <a:pt x="4011" y="2393"/>
                </a:lnTo>
                <a:lnTo>
                  <a:pt x="4009" y="2458"/>
                </a:lnTo>
                <a:lnTo>
                  <a:pt x="4004" y="2524"/>
                </a:lnTo>
                <a:lnTo>
                  <a:pt x="4000" y="2588"/>
                </a:lnTo>
                <a:lnTo>
                  <a:pt x="3995" y="2651"/>
                </a:lnTo>
                <a:lnTo>
                  <a:pt x="3988" y="2714"/>
                </a:lnTo>
                <a:lnTo>
                  <a:pt x="3981" y="2776"/>
                </a:lnTo>
                <a:lnTo>
                  <a:pt x="3972" y="2836"/>
                </a:lnTo>
                <a:lnTo>
                  <a:pt x="3962" y="2897"/>
                </a:lnTo>
                <a:lnTo>
                  <a:pt x="3952" y="2956"/>
                </a:lnTo>
                <a:lnTo>
                  <a:pt x="3940" y="3015"/>
                </a:lnTo>
                <a:lnTo>
                  <a:pt x="3927" y="3072"/>
                </a:lnTo>
                <a:lnTo>
                  <a:pt x="3914" y="3129"/>
                </a:lnTo>
                <a:lnTo>
                  <a:pt x="3899" y="3185"/>
                </a:lnTo>
                <a:lnTo>
                  <a:pt x="3883" y="3240"/>
                </a:lnTo>
                <a:lnTo>
                  <a:pt x="3867" y="3293"/>
                </a:lnTo>
                <a:lnTo>
                  <a:pt x="3850" y="3347"/>
                </a:lnTo>
                <a:lnTo>
                  <a:pt x="3831" y="3399"/>
                </a:lnTo>
                <a:lnTo>
                  <a:pt x="3812" y="3450"/>
                </a:lnTo>
                <a:lnTo>
                  <a:pt x="3791" y="3500"/>
                </a:lnTo>
                <a:lnTo>
                  <a:pt x="3770" y="3549"/>
                </a:lnTo>
                <a:lnTo>
                  <a:pt x="3747" y="3596"/>
                </a:lnTo>
                <a:lnTo>
                  <a:pt x="3724" y="3644"/>
                </a:lnTo>
                <a:lnTo>
                  <a:pt x="3699" y="3690"/>
                </a:lnTo>
                <a:lnTo>
                  <a:pt x="3675" y="3735"/>
                </a:lnTo>
                <a:lnTo>
                  <a:pt x="3648" y="3778"/>
                </a:lnTo>
                <a:lnTo>
                  <a:pt x="3620" y="3821"/>
                </a:lnTo>
                <a:lnTo>
                  <a:pt x="3592" y="3863"/>
                </a:lnTo>
                <a:lnTo>
                  <a:pt x="3563" y="3905"/>
                </a:lnTo>
                <a:lnTo>
                  <a:pt x="3532" y="3944"/>
                </a:lnTo>
                <a:lnTo>
                  <a:pt x="3501" y="3983"/>
                </a:lnTo>
                <a:lnTo>
                  <a:pt x="3469" y="4021"/>
                </a:lnTo>
                <a:lnTo>
                  <a:pt x="3436" y="4058"/>
                </a:lnTo>
                <a:lnTo>
                  <a:pt x="3400" y="4093"/>
                </a:lnTo>
                <a:lnTo>
                  <a:pt x="3365" y="4127"/>
                </a:lnTo>
                <a:lnTo>
                  <a:pt x="3329" y="4162"/>
                </a:lnTo>
                <a:lnTo>
                  <a:pt x="3291" y="4194"/>
                </a:lnTo>
                <a:lnTo>
                  <a:pt x="3253" y="4225"/>
                </a:lnTo>
                <a:lnTo>
                  <a:pt x="3213" y="4255"/>
                </a:lnTo>
                <a:lnTo>
                  <a:pt x="3172" y="4284"/>
                </a:lnTo>
                <a:lnTo>
                  <a:pt x="3132" y="4312"/>
                </a:lnTo>
                <a:lnTo>
                  <a:pt x="3089" y="4338"/>
                </a:lnTo>
                <a:lnTo>
                  <a:pt x="3045" y="4364"/>
                </a:lnTo>
                <a:lnTo>
                  <a:pt x="3001" y="4389"/>
                </a:lnTo>
                <a:lnTo>
                  <a:pt x="2955" y="4412"/>
                </a:lnTo>
                <a:lnTo>
                  <a:pt x="2908" y="4435"/>
                </a:lnTo>
                <a:lnTo>
                  <a:pt x="2861" y="4455"/>
                </a:lnTo>
                <a:lnTo>
                  <a:pt x="2813" y="4475"/>
                </a:lnTo>
                <a:lnTo>
                  <a:pt x="2762" y="4494"/>
                </a:lnTo>
                <a:lnTo>
                  <a:pt x="2712" y="4511"/>
                </a:lnTo>
                <a:lnTo>
                  <a:pt x="2661" y="4527"/>
                </a:lnTo>
                <a:lnTo>
                  <a:pt x="2607" y="4542"/>
                </a:lnTo>
                <a:lnTo>
                  <a:pt x="2554" y="4556"/>
                </a:lnTo>
                <a:lnTo>
                  <a:pt x="2499" y="4568"/>
                </a:lnTo>
                <a:lnTo>
                  <a:pt x="2443" y="4578"/>
                </a:lnTo>
                <a:lnTo>
                  <a:pt x="2387" y="4588"/>
                </a:lnTo>
                <a:lnTo>
                  <a:pt x="2329" y="4596"/>
                </a:lnTo>
                <a:lnTo>
                  <a:pt x="2271" y="4604"/>
                </a:lnTo>
                <a:lnTo>
                  <a:pt x="2211" y="4609"/>
                </a:lnTo>
                <a:lnTo>
                  <a:pt x="2150" y="4615"/>
                </a:lnTo>
                <a:lnTo>
                  <a:pt x="2089" y="4618"/>
                </a:lnTo>
                <a:lnTo>
                  <a:pt x="2026" y="4619"/>
                </a:lnTo>
                <a:lnTo>
                  <a:pt x="1963" y="4620"/>
                </a:lnTo>
                <a:lnTo>
                  <a:pt x="1899" y="4619"/>
                </a:lnTo>
                <a:lnTo>
                  <a:pt x="1838" y="4618"/>
                </a:lnTo>
                <a:lnTo>
                  <a:pt x="1777" y="4615"/>
                </a:lnTo>
                <a:lnTo>
                  <a:pt x="1717" y="4610"/>
                </a:lnTo>
                <a:lnTo>
                  <a:pt x="1660" y="4605"/>
                </a:lnTo>
                <a:lnTo>
                  <a:pt x="1602" y="4599"/>
                </a:lnTo>
                <a:lnTo>
                  <a:pt x="1546" y="4591"/>
                </a:lnTo>
                <a:lnTo>
                  <a:pt x="1490" y="4581"/>
                </a:lnTo>
                <a:lnTo>
                  <a:pt x="1437" y="4572"/>
                </a:lnTo>
                <a:lnTo>
                  <a:pt x="1383" y="4561"/>
                </a:lnTo>
                <a:lnTo>
                  <a:pt x="1332" y="4548"/>
                </a:lnTo>
                <a:lnTo>
                  <a:pt x="1281" y="4534"/>
                </a:lnTo>
                <a:lnTo>
                  <a:pt x="1230" y="4519"/>
                </a:lnTo>
                <a:lnTo>
                  <a:pt x="1182" y="4504"/>
                </a:lnTo>
                <a:lnTo>
                  <a:pt x="1134" y="4487"/>
                </a:lnTo>
                <a:lnTo>
                  <a:pt x="1088" y="4468"/>
                </a:lnTo>
                <a:lnTo>
                  <a:pt x="1042" y="4449"/>
                </a:lnTo>
                <a:lnTo>
                  <a:pt x="997" y="4428"/>
                </a:lnTo>
                <a:lnTo>
                  <a:pt x="953" y="4407"/>
                </a:lnTo>
                <a:lnTo>
                  <a:pt x="910" y="4384"/>
                </a:lnTo>
                <a:lnTo>
                  <a:pt x="868" y="4361"/>
                </a:lnTo>
                <a:lnTo>
                  <a:pt x="828" y="4336"/>
                </a:lnTo>
                <a:lnTo>
                  <a:pt x="788" y="4311"/>
                </a:lnTo>
                <a:lnTo>
                  <a:pt x="750" y="4284"/>
                </a:lnTo>
                <a:lnTo>
                  <a:pt x="712" y="4256"/>
                </a:lnTo>
                <a:lnTo>
                  <a:pt x="676" y="4227"/>
                </a:lnTo>
                <a:lnTo>
                  <a:pt x="640" y="4197"/>
                </a:lnTo>
                <a:lnTo>
                  <a:pt x="605" y="4166"/>
                </a:lnTo>
                <a:lnTo>
                  <a:pt x="572" y="4134"/>
                </a:lnTo>
                <a:lnTo>
                  <a:pt x="539" y="4101"/>
                </a:lnTo>
                <a:lnTo>
                  <a:pt x="508" y="4066"/>
                </a:lnTo>
                <a:lnTo>
                  <a:pt x="477" y="4030"/>
                </a:lnTo>
                <a:lnTo>
                  <a:pt x="447" y="3994"/>
                </a:lnTo>
                <a:lnTo>
                  <a:pt x="419" y="3956"/>
                </a:lnTo>
                <a:lnTo>
                  <a:pt x="391" y="3918"/>
                </a:lnTo>
                <a:lnTo>
                  <a:pt x="364" y="3878"/>
                </a:lnTo>
                <a:lnTo>
                  <a:pt x="338" y="3837"/>
                </a:lnTo>
                <a:lnTo>
                  <a:pt x="313" y="3795"/>
                </a:lnTo>
                <a:lnTo>
                  <a:pt x="289" y="3752"/>
                </a:lnTo>
                <a:lnTo>
                  <a:pt x="267" y="3708"/>
                </a:lnTo>
                <a:lnTo>
                  <a:pt x="244" y="3663"/>
                </a:lnTo>
                <a:lnTo>
                  <a:pt x="224" y="3616"/>
                </a:lnTo>
                <a:lnTo>
                  <a:pt x="204" y="3569"/>
                </a:lnTo>
                <a:lnTo>
                  <a:pt x="184" y="3520"/>
                </a:lnTo>
                <a:lnTo>
                  <a:pt x="166" y="3470"/>
                </a:lnTo>
                <a:lnTo>
                  <a:pt x="149" y="3420"/>
                </a:lnTo>
                <a:lnTo>
                  <a:pt x="133" y="3368"/>
                </a:lnTo>
                <a:lnTo>
                  <a:pt x="118" y="3316"/>
                </a:lnTo>
                <a:lnTo>
                  <a:pt x="104" y="3261"/>
                </a:lnTo>
                <a:lnTo>
                  <a:pt x="90" y="3207"/>
                </a:lnTo>
                <a:lnTo>
                  <a:pt x="77" y="3151"/>
                </a:lnTo>
                <a:lnTo>
                  <a:pt x="66" y="3094"/>
                </a:lnTo>
                <a:lnTo>
                  <a:pt x="56" y="3036"/>
                </a:lnTo>
                <a:lnTo>
                  <a:pt x="46" y="2978"/>
                </a:lnTo>
                <a:lnTo>
                  <a:pt x="37" y="2918"/>
                </a:lnTo>
                <a:lnTo>
                  <a:pt x="29" y="2857"/>
                </a:lnTo>
                <a:lnTo>
                  <a:pt x="23" y="2794"/>
                </a:lnTo>
                <a:lnTo>
                  <a:pt x="16" y="2732"/>
                </a:lnTo>
                <a:lnTo>
                  <a:pt x="11" y="2668"/>
                </a:lnTo>
                <a:lnTo>
                  <a:pt x="7" y="2604"/>
                </a:lnTo>
                <a:lnTo>
                  <a:pt x="3" y="2538"/>
                </a:lnTo>
                <a:lnTo>
                  <a:pt x="1" y="2471"/>
                </a:lnTo>
                <a:lnTo>
                  <a:pt x="0" y="2403"/>
                </a:lnTo>
                <a:lnTo>
                  <a:pt x="0" y="2334"/>
                </a:lnTo>
                <a:lnTo>
                  <a:pt x="0" y="2269"/>
                </a:lnTo>
                <a:lnTo>
                  <a:pt x="1" y="2203"/>
                </a:lnTo>
                <a:lnTo>
                  <a:pt x="4" y="2138"/>
                </a:lnTo>
                <a:lnTo>
                  <a:pt x="8" y="2075"/>
                </a:lnTo>
                <a:lnTo>
                  <a:pt x="12" y="2012"/>
                </a:lnTo>
                <a:lnTo>
                  <a:pt x="17" y="1950"/>
                </a:lnTo>
                <a:lnTo>
                  <a:pt x="24" y="1889"/>
                </a:lnTo>
                <a:lnTo>
                  <a:pt x="31" y="1828"/>
                </a:lnTo>
                <a:lnTo>
                  <a:pt x="40" y="1769"/>
                </a:lnTo>
                <a:lnTo>
                  <a:pt x="49" y="1709"/>
                </a:lnTo>
                <a:lnTo>
                  <a:pt x="60" y="1651"/>
                </a:lnTo>
                <a:lnTo>
                  <a:pt x="72" y="1593"/>
                </a:lnTo>
                <a:lnTo>
                  <a:pt x="84" y="1536"/>
                </a:lnTo>
                <a:lnTo>
                  <a:pt x="98" y="1481"/>
                </a:lnTo>
                <a:lnTo>
                  <a:pt x="113" y="1425"/>
                </a:lnTo>
                <a:lnTo>
                  <a:pt x="128" y="1370"/>
                </a:lnTo>
                <a:lnTo>
                  <a:pt x="145" y="1317"/>
                </a:lnTo>
                <a:lnTo>
                  <a:pt x="162" y="1264"/>
                </a:lnTo>
                <a:lnTo>
                  <a:pt x="180" y="1212"/>
                </a:lnTo>
                <a:lnTo>
                  <a:pt x="200" y="1162"/>
                </a:lnTo>
                <a:lnTo>
                  <a:pt x="221" y="1112"/>
                </a:lnTo>
                <a:lnTo>
                  <a:pt x="242" y="1063"/>
                </a:lnTo>
                <a:lnTo>
                  <a:pt x="265" y="1016"/>
                </a:lnTo>
                <a:lnTo>
                  <a:pt x="288" y="969"/>
                </a:lnTo>
                <a:lnTo>
                  <a:pt x="313" y="924"/>
                </a:lnTo>
                <a:lnTo>
                  <a:pt x="338" y="879"/>
                </a:lnTo>
                <a:lnTo>
                  <a:pt x="365" y="835"/>
                </a:lnTo>
                <a:lnTo>
                  <a:pt x="393" y="793"/>
                </a:lnTo>
                <a:lnTo>
                  <a:pt x="422" y="752"/>
                </a:lnTo>
                <a:lnTo>
                  <a:pt x="451" y="711"/>
                </a:lnTo>
                <a:lnTo>
                  <a:pt x="482" y="671"/>
                </a:lnTo>
                <a:lnTo>
                  <a:pt x="513" y="633"/>
                </a:lnTo>
                <a:lnTo>
                  <a:pt x="546" y="596"/>
                </a:lnTo>
                <a:lnTo>
                  <a:pt x="579" y="560"/>
                </a:lnTo>
                <a:lnTo>
                  <a:pt x="614" y="525"/>
                </a:lnTo>
                <a:lnTo>
                  <a:pt x="649" y="490"/>
                </a:lnTo>
                <a:lnTo>
                  <a:pt x="686" y="457"/>
                </a:lnTo>
                <a:lnTo>
                  <a:pt x="724" y="425"/>
                </a:lnTo>
                <a:lnTo>
                  <a:pt x="762" y="394"/>
                </a:lnTo>
                <a:lnTo>
                  <a:pt x="802" y="364"/>
                </a:lnTo>
                <a:lnTo>
                  <a:pt x="843" y="335"/>
                </a:lnTo>
                <a:lnTo>
                  <a:pt x="884" y="308"/>
                </a:lnTo>
                <a:lnTo>
                  <a:pt x="926" y="282"/>
                </a:lnTo>
                <a:lnTo>
                  <a:pt x="970" y="256"/>
                </a:lnTo>
                <a:lnTo>
                  <a:pt x="1015" y="231"/>
                </a:lnTo>
                <a:lnTo>
                  <a:pt x="1061" y="208"/>
                </a:lnTo>
                <a:lnTo>
                  <a:pt x="1107" y="185"/>
                </a:lnTo>
                <a:lnTo>
                  <a:pt x="1155" y="165"/>
                </a:lnTo>
                <a:lnTo>
                  <a:pt x="1203" y="145"/>
                </a:lnTo>
                <a:lnTo>
                  <a:pt x="1253" y="126"/>
                </a:lnTo>
                <a:lnTo>
                  <a:pt x="1303" y="109"/>
                </a:lnTo>
                <a:lnTo>
                  <a:pt x="1354" y="93"/>
                </a:lnTo>
                <a:lnTo>
                  <a:pt x="1408" y="78"/>
                </a:lnTo>
                <a:lnTo>
                  <a:pt x="1462" y="64"/>
                </a:lnTo>
                <a:lnTo>
                  <a:pt x="1516" y="52"/>
                </a:lnTo>
                <a:lnTo>
                  <a:pt x="1571" y="42"/>
                </a:lnTo>
                <a:lnTo>
                  <a:pt x="1627" y="32"/>
                </a:lnTo>
                <a:lnTo>
                  <a:pt x="1685" y="24"/>
                </a:lnTo>
                <a:lnTo>
                  <a:pt x="1744" y="16"/>
                </a:lnTo>
                <a:lnTo>
                  <a:pt x="1804" y="11"/>
                </a:lnTo>
                <a:lnTo>
                  <a:pt x="1864" y="5"/>
                </a:lnTo>
                <a:lnTo>
                  <a:pt x="1926" y="2"/>
                </a:lnTo>
                <a:lnTo>
                  <a:pt x="1988" y="1"/>
                </a:lnTo>
                <a:lnTo>
                  <a:pt x="2053" y="0"/>
                </a:lnTo>
                <a:lnTo>
                  <a:pt x="2114" y="1"/>
                </a:lnTo>
                <a:lnTo>
                  <a:pt x="2175" y="2"/>
                </a:lnTo>
                <a:lnTo>
                  <a:pt x="2235" y="5"/>
                </a:lnTo>
                <a:lnTo>
                  <a:pt x="2292" y="10"/>
                </a:lnTo>
                <a:lnTo>
                  <a:pt x="2350" y="15"/>
                </a:lnTo>
                <a:lnTo>
                  <a:pt x="2407" y="21"/>
                </a:lnTo>
                <a:lnTo>
                  <a:pt x="2463" y="29"/>
                </a:lnTo>
                <a:lnTo>
                  <a:pt x="2517" y="37"/>
                </a:lnTo>
                <a:lnTo>
                  <a:pt x="2571" y="47"/>
                </a:lnTo>
                <a:lnTo>
                  <a:pt x="2623" y="58"/>
                </a:lnTo>
                <a:lnTo>
                  <a:pt x="2675" y="71"/>
                </a:lnTo>
                <a:lnTo>
                  <a:pt x="2725" y="84"/>
                </a:lnTo>
                <a:lnTo>
                  <a:pt x="2774" y="99"/>
                </a:lnTo>
                <a:lnTo>
                  <a:pt x="2822" y="115"/>
                </a:lnTo>
                <a:lnTo>
                  <a:pt x="2870" y="131"/>
                </a:lnTo>
                <a:lnTo>
                  <a:pt x="2916" y="149"/>
                </a:lnTo>
                <a:lnTo>
                  <a:pt x="2961" y="168"/>
                </a:lnTo>
                <a:lnTo>
                  <a:pt x="3006" y="188"/>
                </a:lnTo>
                <a:lnTo>
                  <a:pt x="3050" y="210"/>
                </a:lnTo>
                <a:lnTo>
                  <a:pt x="3092" y="232"/>
                </a:lnTo>
                <a:lnTo>
                  <a:pt x="3134" y="256"/>
                </a:lnTo>
                <a:lnTo>
                  <a:pt x="3175" y="281"/>
                </a:lnTo>
                <a:lnTo>
                  <a:pt x="3214" y="306"/>
                </a:lnTo>
                <a:lnTo>
                  <a:pt x="3253" y="333"/>
                </a:lnTo>
                <a:lnTo>
                  <a:pt x="3291" y="361"/>
                </a:lnTo>
                <a:lnTo>
                  <a:pt x="3328" y="390"/>
                </a:lnTo>
                <a:lnTo>
                  <a:pt x="3363" y="420"/>
                </a:lnTo>
                <a:lnTo>
                  <a:pt x="3398" y="451"/>
                </a:lnTo>
                <a:lnTo>
                  <a:pt x="3433" y="482"/>
                </a:lnTo>
                <a:lnTo>
                  <a:pt x="3466" y="515"/>
                </a:lnTo>
                <a:lnTo>
                  <a:pt x="3497" y="549"/>
                </a:lnTo>
                <a:lnTo>
                  <a:pt x="3529" y="585"/>
                </a:lnTo>
                <a:lnTo>
                  <a:pt x="3559" y="621"/>
                </a:lnTo>
                <a:lnTo>
                  <a:pt x="3588" y="658"/>
                </a:lnTo>
                <a:lnTo>
                  <a:pt x="3616" y="697"/>
                </a:lnTo>
                <a:lnTo>
                  <a:pt x="3643" y="737"/>
                </a:lnTo>
                <a:lnTo>
                  <a:pt x="3669" y="776"/>
                </a:lnTo>
                <a:lnTo>
                  <a:pt x="3695" y="818"/>
                </a:lnTo>
                <a:lnTo>
                  <a:pt x="3718" y="861"/>
                </a:lnTo>
                <a:lnTo>
                  <a:pt x="3742" y="905"/>
                </a:lnTo>
                <a:lnTo>
                  <a:pt x="3764" y="950"/>
                </a:lnTo>
                <a:lnTo>
                  <a:pt x="3786" y="995"/>
                </a:lnTo>
                <a:lnTo>
                  <a:pt x="3806" y="1042"/>
                </a:lnTo>
                <a:lnTo>
                  <a:pt x="3825" y="1090"/>
                </a:lnTo>
                <a:lnTo>
                  <a:pt x="3844" y="1139"/>
                </a:lnTo>
                <a:lnTo>
                  <a:pt x="3861" y="1190"/>
                </a:lnTo>
                <a:lnTo>
                  <a:pt x="3878" y="1240"/>
                </a:lnTo>
                <a:lnTo>
                  <a:pt x="3893" y="1292"/>
                </a:lnTo>
                <a:lnTo>
                  <a:pt x="3908" y="1346"/>
                </a:lnTo>
                <a:lnTo>
                  <a:pt x="3921" y="1399"/>
                </a:lnTo>
                <a:lnTo>
                  <a:pt x="3934" y="1455"/>
                </a:lnTo>
                <a:lnTo>
                  <a:pt x="3945" y="1511"/>
                </a:lnTo>
                <a:lnTo>
                  <a:pt x="3956" y="1567"/>
                </a:lnTo>
                <a:lnTo>
                  <a:pt x="3966" y="1625"/>
                </a:lnTo>
                <a:lnTo>
                  <a:pt x="3974" y="1684"/>
                </a:lnTo>
                <a:lnTo>
                  <a:pt x="3983" y="1744"/>
                </a:lnTo>
                <a:lnTo>
                  <a:pt x="3989" y="1805"/>
                </a:lnTo>
                <a:lnTo>
                  <a:pt x="3996" y="1867"/>
                </a:lnTo>
                <a:lnTo>
                  <a:pt x="4001" y="1930"/>
                </a:lnTo>
                <a:lnTo>
                  <a:pt x="4005" y="1994"/>
                </a:lnTo>
                <a:lnTo>
                  <a:pt x="4009" y="2059"/>
                </a:lnTo>
                <a:lnTo>
                  <a:pt x="4011" y="2124"/>
                </a:lnTo>
                <a:lnTo>
                  <a:pt x="4012" y="2191"/>
                </a:lnTo>
                <a:lnTo>
                  <a:pt x="4013" y="2258"/>
                </a:lnTo>
                <a:close/>
                <a:moveTo>
                  <a:pt x="3384" y="2300"/>
                </a:moveTo>
                <a:lnTo>
                  <a:pt x="3383" y="2253"/>
                </a:lnTo>
                <a:lnTo>
                  <a:pt x="3383" y="2206"/>
                </a:lnTo>
                <a:lnTo>
                  <a:pt x="3381" y="2158"/>
                </a:lnTo>
                <a:lnTo>
                  <a:pt x="3380" y="2112"/>
                </a:lnTo>
                <a:lnTo>
                  <a:pt x="3377" y="2066"/>
                </a:lnTo>
                <a:lnTo>
                  <a:pt x="3375" y="2021"/>
                </a:lnTo>
                <a:lnTo>
                  <a:pt x="3372" y="1976"/>
                </a:lnTo>
                <a:lnTo>
                  <a:pt x="3367" y="1932"/>
                </a:lnTo>
                <a:lnTo>
                  <a:pt x="3363" y="1888"/>
                </a:lnTo>
                <a:lnTo>
                  <a:pt x="3358" y="1844"/>
                </a:lnTo>
                <a:lnTo>
                  <a:pt x="3352" y="1801"/>
                </a:lnTo>
                <a:lnTo>
                  <a:pt x="3346" y="1758"/>
                </a:lnTo>
                <a:lnTo>
                  <a:pt x="3339" y="1715"/>
                </a:lnTo>
                <a:lnTo>
                  <a:pt x="3332" y="1673"/>
                </a:lnTo>
                <a:lnTo>
                  <a:pt x="3324" y="1632"/>
                </a:lnTo>
                <a:lnTo>
                  <a:pt x="3317" y="1591"/>
                </a:lnTo>
                <a:lnTo>
                  <a:pt x="3307" y="1550"/>
                </a:lnTo>
                <a:lnTo>
                  <a:pt x="3299" y="1510"/>
                </a:lnTo>
                <a:lnTo>
                  <a:pt x="3288" y="1471"/>
                </a:lnTo>
                <a:lnTo>
                  <a:pt x="3277" y="1433"/>
                </a:lnTo>
                <a:lnTo>
                  <a:pt x="3266" y="1394"/>
                </a:lnTo>
                <a:lnTo>
                  <a:pt x="3254" y="1357"/>
                </a:lnTo>
                <a:lnTo>
                  <a:pt x="3241" y="1320"/>
                </a:lnTo>
                <a:lnTo>
                  <a:pt x="3227" y="1285"/>
                </a:lnTo>
                <a:lnTo>
                  <a:pt x="3212" y="1249"/>
                </a:lnTo>
                <a:lnTo>
                  <a:pt x="3197" y="1215"/>
                </a:lnTo>
                <a:lnTo>
                  <a:pt x="3181" y="1181"/>
                </a:lnTo>
                <a:lnTo>
                  <a:pt x="3165" y="1148"/>
                </a:lnTo>
                <a:lnTo>
                  <a:pt x="3148" y="1115"/>
                </a:lnTo>
                <a:lnTo>
                  <a:pt x="3130" y="1084"/>
                </a:lnTo>
                <a:lnTo>
                  <a:pt x="3111" y="1052"/>
                </a:lnTo>
                <a:lnTo>
                  <a:pt x="3092" y="1021"/>
                </a:lnTo>
                <a:lnTo>
                  <a:pt x="3072" y="991"/>
                </a:lnTo>
                <a:lnTo>
                  <a:pt x="3050" y="963"/>
                </a:lnTo>
                <a:lnTo>
                  <a:pt x="3029" y="935"/>
                </a:lnTo>
                <a:lnTo>
                  <a:pt x="3006" y="908"/>
                </a:lnTo>
                <a:lnTo>
                  <a:pt x="2983" y="881"/>
                </a:lnTo>
                <a:lnTo>
                  <a:pt x="2958" y="855"/>
                </a:lnTo>
                <a:lnTo>
                  <a:pt x="2933" y="831"/>
                </a:lnTo>
                <a:lnTo>
                  <a:pt x="2907" y="806"/>
                </a:lnTo>
                <a:lnTo>
                  <a:pt x="2880" y="784"/>
                </a:lnTo>
                <a:lnTo>
                  <a:pt x="2852" y="761"/>
                </a:lnTo>
                <a:lnTo>
                  <a:pt x="2824" y="740"/>
                </a:lnTo>
                <a:lnTo>
                  <a:pt x="2796" y="719"/>
                </a:lnTo>
                <a:lnTo>
                  <a:pt x="2766" y="699"/>
                </a:lnTo>
                <a:lnTo>
                  <a:pt x="2734" y="681"/>
                </a:lnTo>
                <a:lnTo>
                  <a:pt x="2702" y="663"/>
                </a:lnTo>
                <a:lnTo>
                  <a:pt x="2670" y="646"/>
                </a:lnTo>
                <a:lnTo>
                  <a:pt x="2637" y="628"/>
                </a:lnTo>
                <a:lnTo>
                  <a:pt x="2602" y="614"/>
                </a:lnTo>
                <a:lnTo>
                  <a:pt x="2566" y="600"/>
                </a:lnTo>
                <a:lnTo>
                  <a:pt x="2530" y="586"/>
                </a:lnTo>
                <a:lnTo>
                  <a:pt x="2493" y="574"/>
                </a:lnTo>
                <a:lnTo>
                  <a:pt x="2455" y="563"/>
                </a:lnTo>
                <a:lnTo>
                  <a:pt x="2415" y="552"/>
                </a:lnTo>
                <a:lnTo>
                  <a:pt x="2375" y="544"/>
                </a:lnTo>
                <a:lnTo>
                  <a:pt x="2334" y="536"/>
                </a:lnTo>
                <a:lnTo>
                  <a:pt x="2291" y="529"/>
                </a:lnTo>
                <a:lnTo>
                  <a:pt x="2248" y="524"/>
                </a:lnTo>
                <a:lnTo>
                  <a:pt x="2205" y="518"/>
                </a:lnTo>
                <a:lnTo>
                  <a:pt x="2160" y="515"/>
                </a:lnTo>
                <a:lnTo>
                  <a:pt x="2114" y="512"/>
                </a:lnTo>
                <a:lnTo>
                  <a:pt x="2066" y="511"/>
                </a:lnTo>
                <a:lnTo>
                  <a:pt x="2018" y="510"/>
                </a:lnTo>
                <a:lnTo>
                  <a:pt x="1970" y="511"/>
                </a:lnTo>
                <a:lnTo>
                  <a:pt x="1923" y="513"/>
                </a:lnTo>
                <a:lnTo>
                  <a:pt x="1877" y="515"/>
                </a:lnTo>
                <a:lnTo>
                  <a:pt x="1832" y="519"/>
                </a:lnTo>
                <a:lnTo>
                  <a:pt x="1787" y="525"/>
                </a:lnTo>
                <a:lnTo>
                  <a:pt x="1744" y="531"/>
                </a:lnTo>
                <a:lnTo>
                  <a:pt x="1702" y="539"/>
                </a:lnTo>
                <a:lnTo>
                  <a:pt x="1661" y="546"/>
                </a:lnTo>
                <a:lnTo>
                  <a:pt x="1620" y="557"/>
                </a:lnTo>
                <a:lnTo>
                  <a:pt x="1581" y="567"/>
                </a:lnTo>
                <a:lnTo>
                  <a:pt x="1543" y="579"/>
                </a:lnTo>
                <a:lnTo>
                  <a:pt x="1505" y="592"/>
                </a:lnTo>
                <a:lnTo>
                  <a:pt x="1469" y="606"/>
                </a:lnTo>
                <a:lnTo>
                  <a:pt x="1434" y="622"/>
                </a:lnTo>
                <a:lnTo>
                  <a:pt x="1399" y="638"/>
                </a:lnTo>
                <a:lnTo>
                  <a:pt x="1366" y="655"/>
                </a:lnTo>
                <a:lnTo>
                  <a:pt x="1333" y="675"/>
                </a:lnTo>
                <a:lnTo>
                  <a:pt x="1302" y="694"/>
                </a:lnTo>
                <a:lnTo>
                  <a:pt x="1271" y="714"/>
                </a:lnTo>
                <a:lnTo>
                  <a:pt x="1240" y="734"/>
                </a:lnTo>
                <a:lnTo>
                  <a:pt x="1211" y="756"/>
                </a:lnTo>
                <a:lnTo>
                  <a:pt x="1182" y="778"/>
                </a:lnTo>
                <a:lnTo>
                  <a:pt x="1154" y="802"/>
                </a:lnTo>
                <a:lnTo>
                  <a:pt x="1127" y="825"/>
                </a:lnTo>
                <a:lnTo>
                  <a:pt x="1101" y="850"/>
                </a:lnTo>
                <a:lnTo>
                  <a:pt x="1075" y="876"/>
                </a:lnTo>
                <a:lnTo>
                  <a:pt x="1050" y="902"/>
                </a:lnTo>
                <a:lnTo>
                  <a:pt x="1027" y="928"/>
                </a:lnTo>
                <a:lnTo>
                  <a:pt x="1003" y="956"/>
                </a:lnTo>
                <a:lnTo>
                  <a:pt x="981" y="985"/>
                </a:lnTo>
                <a:lnTo>
                  <a:pt x="959" y="1014"/>
                </a:lnTo>
                <a:lnTo>
                  <a:pt x="938" y="1044"/>
                </a:lnTo>
                <a:lnTo>
                  <a:pt x="918" y="1075"/>
                </a:lnTo>
                <a:lnTo>
                  <a:pt x="898" y="1106"/>
                </a:lnTo>
                <a:lnTo>
                  <a:pt x="880" y="1138"/>
                </a:lnTo>
                <a:lnTo>
                  <a:pt x="862" y="1170"/>
                </a:lnTo>
                <a:lnTo>
                  <a:pt x="844" y="1205"/>
                </a:lnTo>
                <a:lnTo>
                  <a:pt x="828" y="1238"/>
                </a:lnTo>
                <a:lnTo>
                  <a:pt x="812" y="1272"/>
                </a:lnTo>
                <a:lnTo>
                  <a:pt x="797" y="1307"/>
                </a:lnTo>
                <a:lnTo>
                  <a:pt x="782" y="1344"/>
                </a:lnTo>
                <a:lnTo>
                  <a:pt x="769" y="1380"/>
                </a:lnTo>
                <a:lnTo>
                  <a:pt x="755" y="1417"/>
                </a:lnTo>
                <a:lnTo>
                  <a:pt x="743" y="1454"/>
                </a:lnTo>
                <a:lnTo>
                  <a:pt x="731" y="1493"/>
                </a:lnTo>
                <a:lnTo>
                  <a:pt x="721" y="1531"/>
                </a:lnTo>
                <a:lnTo>
                  <a:pt x="711" y="1571"/>
                </a:lnTo>
                <a:lnTo>
                  <a:pt x="701" y="1611"/>
                </a:lnTo>
                <a:lnTo>
                  <a:pt x="693" y="1652"/>
                </a:lnTo>
                <a:lnTo>
                  <a:pt x="685" y="1693"/>
                </a:lnTo>
                <a:lnTo>
                  <a:pt x="678" y="1735"/>
                </a:lnTo>
                <a:lnTo>
                  <a:pt x="670" y="1775"/>
                </a:lnTo>
                <a:lnTo>
                  <a:pt x="664" y="1817"/>
                </a:lnTo>
                <a:lnTo>
                  <a:pt x="659" y="1859"/>
                </a:lnTo>
                <a:lnTo>
                  <a:pt x="653" y="1902"/>
                </a:lnTo>
                <a:lnTo>
                  <a:pt x="648" y="1944"/>
                </a:lnTo>
                <a:lnTo>
                  <a:pt x="645" y="1987"/>
                </a:lnTo>
                <a:lnTo>
                  <a:pt x="640" y="2030"/>
                </a:lnTo>
                <a:lnTo>
                  <a:pt x="637" y="2073"/>
                </a:lnTo>
                <a:lnTo>
                  <a:pt x="635" y="2117"/>
                </a:lnTo>
                <a:lnTo>
                  <a:pt x="633" y="2161"/>
                </a:lnTo>
                <a:lnTo>
                  <a:pt x="632" y="2205"/>
                </a:lnTo>
                <a:lnTo>
                  <a:pt x="631" y="2248"/>
                </a:lnTo>
                <a:lnTo>
                  <a:pt x="631" y="2292"/>
                </a:lnTo>
                <a:lnTo>
                  <a:pt x="631" y="2342"/>
                </a:lnTo>
                <a:lnTo>
                  <a:pt x="632" y="2391"/>
                </a:lnTo>
                <a:lnTo>
                  <a:pt x="633" y="2439"/>
                </a:lnTo>
                <a:lnTo>
                  <a:pt x="635" y="2486"/>
                </a:lnTo>
                <a:lnTo>
                  <a:pt x="637" y="2533"/>
                </a:lnTo>
                <a:lnTo>
                  <a:pt x="640" y="2580"/>
                </a:lnTo>
                <a:lnTo>
                  <a:pt x="644" y="2626"/>
                </a:lnTo>
                <a:lnTo>
                  <a:pt x="647" y="2672"/>
                </a:lnTo>
                <a:lnTo>
                  <a:pt x="652" y="2717"/>
                </a:lnTo>
                <a:lnTo>
                  <a:pt x="656" y="2762"/>
                </a:lnTo>
                <a:lnTo>
                  <a:pt x="662" y="2807"/>
                </a:lnTo>
                <a:lnTo>
                  <a:pt x="668" y="2850"/>
                </a:lnTo>
                <a:lnTo>
                  <a:pt x="675" y="2894"/>
                </a:lnTo>
                <a:lnTo>
                  <a:pt x="681" y="2937"/>
                </a:lnTo>
                <a:lnTo>
                  <a:pt x="689" y="2979"/>
                </a:lnTo>
                <a:lnTo>
                  <a:pt x="697" y="3020"/>
                </a:lnTo>
                <a:lnTo>
                  <a:pt x="706" y="3062"/>
                </a:lnTo>
                <a:lnTo>
                  <a:pt x="714" y="3103"/>
                </a:lnTo>
                <a:lnTo>
                  <a:pt x="725" y="3142"/>
                </a:lnTo>
                <a:lnTo>
                  <a:pt x="736" y="3182"/>
                </a:lnTo>
                <a:lnTo>
                  <a:pt x="747" y="3221"/>
                </a:lnTo>
                <a:lnTo>
                  <a:pt x="759" y="3258"/>
                </a:lnTo>
                <a:lnTo>
                  <a:pt x="772" y="3294"/>
                </a:lnTo>
                <a:lnTo>
                  <a:pt x="785" y="3331"/>
                </a:lnTo>
                <a:lnTo>
                  <a:pt x="800" y="3366"/>
                </a:lnTo>
                <a:lnTo>
                  <a:pt x="815" y="3402"/>
                </a:lnTo>
                <a:lnTo>
                  <a:pt x="830" y="3435"/>
                </a:lnTo>
                <a:lnTo>
                  <a:pt x="846" y="3469"/>
                </a:lnTo>
                <a:lnTo>
                  <a:pt x="863" y="3501"/>
                </a:lnTo>
                <a:lnTo>
                  <a:pt x="881" y="3533"/>
                </a:lnTo>
                <a:lnTo>
                  <a:pt x="899" y="3564"/>
                </a:lnTo>
                <a:lnTo>
                  <a:pt x="919" y="3595"/>
                </a:lnTo>
                <a:lnTo>
                  <a:pt x="938" y="3624"/>
                </a:lnTo>
                <a:lnTo>
                  <a:pt x="959" y="3653"/>
                </a:lnTo>
                <a:lnTo>
                  <a:pt x="981" y="3682"/>
                </a:lnTo>
                <a:lnTo>
                  <a:pt x="1003" y="3709"/>
                </a:lnTo>
                <a:lnTo>
                  <a:pt x="1026" y="3736"/>
                </a:lnTo>
                <a:lnTo>
                  <a:pt x="1050" y="3760"/>
                </a:lnTo>
                <a:lnTo>
                  <a:pt x="1075" y="3785"/>
                </a:lnTo>
                <a:lnTo>
                  <a:pt x="1101" y="3809"/>
                </a:lnTo>
                <a:lnTo>
                  <a:pt x="1127" y="3832"/>
                </a:lnTo>
                <a:lnTo>
                  <a:pt x="1155" y="3854"/>
                </a:lnTo>
                <a:lnTo>
                  <a:pt x="1183" y="3875"/>
                </a:lnTo>
                <a:lnTo>
                  <a:pt x="1212" y="3896"/>
                </a:lnTo>
                <a:lnTo>
                  <a:pt x="1242" y="3915"/>
                </a:lnTo>
                <a:lnTo>
                  <a:pt x="1272" y="3934"/>
                </a:lnTo>
                <a:lnTo>
                  <a:pt x="1304" y="3952"/>
                </a:lnTo>
                <a:lnTo>
                  <a:pt x="1336" y="3969"/>
                </a:lnTo>
                <a:lnTo>
                  <a:pt x="1369" y="3985"/>
                </a:lnTo>
                <a:lnTo>
                  <a:pt x="1404" y="4000"/>
                </a:lnTo>
                <a:lnTo>
                  <a:pt x="1439" y="4015"/>
                </a:lnTo>
                <a:lnTo>
                  <a:pt x="1475" y="4028"/>
                </a:lnTo>
                <a:lnTo>
                  <a:pt x="1513" y="4040"/>
                </a:lnTo>
                <a:lnTo>
                  <a:pt x="1551" y="4050"/>
                </a:lnTo>
                <a:lnTo>
                  <a:pt x="1591" y="4061"/>
                </a:lnTo>
                <a:lnTo>
                  <a:pt x="1632" y="4070"/>
                </a:lnTo>
                <a:lnTo>
                  <a:pt x="1674" y="4077"/>
                </a:lnTo>
                <a:lnTo>
                  <a:pt x="1716" y="4085"/>
                </a:lnTo>
                <a:lnTo>
                  <a:pt x="1760" y="4090"/>
                </a:lnTo>
                <a:lnTo>
                  <a:pt x="1805" y="4094"/>
                </a:lnTo>
                <a:lnTo>
                  <a:pt x="1850" y="4099"/>
                </a:lnTo>
                <a:lnTo>
                  <a:pt x="1897" y="4101"/>
                </a:lnTo>
                <a:lnTo>
                  <a:pt x="1945" y="4102"/>
                </a:lnTo>
                <a:lnTo>
                  <a:pt x="1995" y="4103"/>
                </a:lnTo>
                <a:lnTo>
                  <a:pt x="2043" y="4102"/>
                </a:lnTo>
                <a:lnTo>
                  <a:pt x="2090" y="4101"/>
                </a:lnTo>
                <a:lnTo>
                  <a:pt x="2136" y="4098"/>
                </a:lnTo>
                <a:lnTo>
                  <a:pt x="2182" y="4093"/>
                </a:lnTo>
                <a:lnTo>
                  <a:pt x="2227" y="4089"/>
                </a:lnTo>
                <a:lnTo>
                  <a:pt x="2270" y="4083"/>
                </a:lnTo>
                <a:lnTo>
                  <a:pt x="2313" y="4075"/>
                </a:lnTo>
                <a:lnTo>
                  <a:pt x="2354" y="4066"/>
                </a:lnTo>
                <a:lnTo>
                  <a:pt x="2395" y="4057"/>
                </a:lnTo>
                <a:lnTo>
                  <a:pt x="2435" y="4046"/>
                </a:lnTo>
                <a:lnTo>
                  <a:pt x="2473" y="4034"/>
                </a:lnTo>
                <a:lnTo>
                  <a:pt x="2512" y="4020"/>
                </a:lnTo>
                <a:lnTo>
                  <a:pt x="2548" y="4006"/>
                </a:lnTo>
                <a:lnTo>
                  <a:pt x="2584" y="3992"/>
                </a:lnTo>
                <a:lnTo>
                  <a:pt x="2619" y="3974"/>
                </a:lnTo>
                <a:lnTo>
                  <a:pt x="2652" y="3957"/>
                </a:lnTo>
                <a:lnTo>
                  <a:pt x="2685" y="3939"/>
                </a:lnTo>
                <a:lnTo>
                  <a:pt x="2717" y="3919"/>
                </a:lnTo>
                <a:lnTo>
                  <a:pt x="2749" y="3899"/>
                </a:lnTo>
                <a:lnTo>
                  <a:pt x="2779" y="3878"/>
                </a:lnTo>
                <a:lnTo>
                  <a:pt x="2809" y="3857"/>
                </a:lnTo>
                <a:lnTo>
                  <a:pt x="2838" y="3833"/>
                </a:lnTo>
                <a:lnTo>
                  <a:pt x="2867" y="3811"/>
                </a:lnTo>
                <a:lnTo>
                  <a:pt x="2894" y="3786"/>
                </a:lnTo>
                <a:lnTo>
                  <a:pt x="2921" y="3761"/>
                </a:lnTo>
                <a:lnTo>
                  <a:pt x="2946" y="3736"/>
                </a:lnTo>
                <a:lnTo>
                  <a:pt x="2971" y="3709"/>
                </a:lnTo>
                <a:lnTo>
                  <a:pt x="2995" y="3681"/>
                </a:lnTo>
                <a:lnTo>
                  <a:pt x="3018" y="3653"/>
                </a:lnTo>
                <a:lnTo>
                  <a:pt x="3041" y="3624"/>
                </a:lnTo>
                <a:lnTo>
                  <a:pt x="3062" y="3594"/>
                </a:lnTo>
                <a:lnTo>
                  <a:pt x="3084" y="3564"/>
                </a:lnTo>
                <a:lnTo>
                  <a:pt x="3103" y="3533"/>
                </a:lnTo>
                <a:lnTo>
                  <a:pt x="3122" y="3501"/>
                </a:lnTo>
                <a:lnTo>
                  <a:pt x="3140" y="3468"/>
                </a:lnTo>
                <a:lnTo>
                  <a:pt x="3158" y="3435"/>
                </a:lnTo>
                <a:lnTo>
                  <a:pt x="3176" y="3402"/>
                </a:lnTo>
                <a:lnTo>
                  <a:pt x="3192" y="3367"/>
                </a:lnTo>
                <a:lnTo>
                  <a:pt x="3208" y="3332"/>
                </a:lnTo>
                <a:lnTo>
                  <a:pt x="3223" y="3297"/>
                </a:lnTo>
                <a:lnTo>
                  <a:pt x="3237" y="3260"/>
                </a:lnTo>
                <a:lnTo>
                  <a:pt x="3251" y="3223"/>
                </a:lnTo>
                <a:lnTo>
                  <a:pt x="3262" y="3185"/>
                </a:lnTo>
                <a:lnTo>
                  <a:pt x="3275" y="3148"/>
                </a:lnTo>
                <a:lnTo>
                  <a:pt x="3286" y="3109"/>
                </a:lnTo>
                <a:lnTo>
                  <a:pt x="3297" y="3070"/>
                </a:lnTo>
                <a:lnTo>
                  <a:pt x="3306" y="3030"/>
                </a:lnTo>
                <a:lnTo>
                  <a:pt x="3316" y="2990"/>
                </a:lnTo>
                <a:lnTo>
                  <a:pt x="3323" y="2949"/>
                </a:lnTo>
                <a:lnTo>
                  <a:pt x="3332" y="2908"/>
                </a:lnTo>
                <a:lnTo>
                  <a:pt x="3338" y="2866"/>
                </a:lnTo>
                <a:lnTo>
                  <a:pt x="3346" y="2824"/>
                </a:lnTo>
                <a:lnTo>
                  <a:pt x="3351" y="2783"/>
                </a:lnTo>
                <a:lnTo>
                  <a:pt x="3358" y="2740"/>
                </a:lnTo>
                <a:lnTo>
                  <a:pt x="3363" y="2697"/>
                </a:lnTo>
                <a:lnTo>
                  <a:pt x="3367" y="2654"/>
                </a:lnTo>
                <a:lnTo>
                  <a:pt x="3370" y="2611"/>
                </a:lnTo>
                <a:lnTo>
                  <a:pt x="3375" y="2567"/>
                </a:lnTo>
                <a:lnTo>
                  <a:pt x="3377" y="2524"/>
                </a:lnTo>
                <a:lnTo>
                  <a:pt x="3380" y="2480"/>
                </a:lnTo>
                <a:lnTo>
                  <a:pt x="3381" y="2435"/>
                </a:lnTo>
                <a:lnTo>
                  <a:pt x="3383" y="2391"/>
                </a:lnTo>
                <a:lnTo>
                  <a:pt x="3383" y="2345"/>
                </a:lnTo>
                <a:lnTo>
                  <a:pt x="3384" y="23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6"/>
          <p:cNvSpPr>
            <a:spLocks/>
          </p:cNvSpPr>
          <p:nvPr/>
        </p:nvSpPr>
        <p:spPr bwMode="auto">
          <a:xfrm>
            <a:off x="5368432" y="4221947"/>
            <a:ext cx="672500" cy="902670"/>
          </a:xfrm>
          <a:custGeom>
            <a:avLst/>
            <a:gdLst>
              <a:gd name="T0" fmla="*/ 3357 w 3357"/>
              <a:gd name="T1" fmla="*/ 288 h 4509"/>
              <a:gd name="T2" fmla="*/ 3353 w 3357"/>
              <a:gd name="T3" fmla="*/ 346 h 4509"/>
              <a:gd name="T4" fmla="*/ 3346 w 3357"/>
              <a:gd name="T5" fmla="*/ 394 h 4509"/>
              <a:gd name="T6" fmla="*/ 3335 w 3357"/>
              <a:gd name="T7" fmla="*/ 433 h 4509"/>
              <a:gd name="T8" fmla="*/ 3318 w 3357"/>
              <a:gd name="T9" fmla="*/ 463 h 4509"/>
              <a:gd name="T10" fmla="*/ 3300 w 3357"/>
              <a:gd name="T11" fmla="*/ 484 h 4509"/>
              <a:gd name="T12" fmla="*/ 3278 w 3357"/>
              <a:gd name="T13" fmla="*/ 499 h 4509"/>
              <a:gd name="T14" fmla="*/ 3252 w 3357"/>
              <a:gd name="T15" fmla="*/ 506 h 4509"/>
              <a:gd name="T16" fmla="*/ 1977 w 3357"/>
              <a:gd name="T17" fmla="*/ 507 h 4509"/>
              <a:gd name="T18" fmla="*/ 1976 w 3357"/>
              <a:gd name="T19" fmla="*/ 4411 h 4509"/>
              <a:gd name="T20" fmla="*/ 1968 w 3357"/>
              <a:gd name="T21" fmla="*/ 4435 h 4509"/>
              <a:gd name="T22" fmla="*/ 1959 w 3357"/>
              <a:gd name="T23" fmla="*/ 4451 h 4509"/>
              <a:gd name="T24" fmla="*/ 1949 w 3357"/>
              <a:gd name="T25" fmla="*/ 4461 h 4509"/>
              <a:gd name="T26" fmla="*/ 1937 w 3357"/>
              <a:gd name="T27" fmla="*/ 4469 h 4509"/>
              <a:gd name="T28" fmla="*/ 1922 w 3357"/>
              <a:gd name="T29" fmla="*/ 4476 h 4509"/>
              <a:gd name="T30" fmla="*/ 1896 w 3357"/>
              <a:gd name="T31" fmla="*/ 4485 h 4509"/>
              <a:gd name="T32" fmla="*/ 1850 w 3357"/>
              <a:gd name="T33" fmla="*/ 4495 h 4509"/>
              <a:gd name="T34" fmla="*/ 1792 w 3357"/>
              <a:gd name="T35" fmla="*/ 4504 h 4509"/>
              <a:gd name="T36" fmla="*/ 1720 w 3357"/>
              <a:gd name="T37" fmla="*/ 4508 h 4509"/>
              <a:gd name="T38" fmla="*/ 1639 w 3357"/>
              <a:gd name="T39" fmla="*/ 4508 h 4509"/>
              <a:gd name="T40" fmla="*/ 1567 w 3357"/>
              <a:gd name="T41" fmla="*/ 4504 h 4509"/>
              <a:gd name="T42" fmla="*/ 1508 w 3357"/>
              <a:gd name="T43" fmla="*/ 4495 h 4509"/>
              <a:gd name="T44" fmla="*/ 1462 w 3357"/>
              <a:gd name="T45" fmla="*/ 4485 h 4509"/>
              <a:gd name="T46" fmla="*/ 1434 w 3357"/>
              <a:gd name="T47" fmla="*/ 4476 h 4509"/>
              <a:gd name="T48" fmla="*/ 1419 w 3357"/>
              <a:gd name="T49" fmla="*/ 4469 h 4509"/>
              <a:gd name="T50" fmla="*/ 1407 w 3357"/>
              <a:gd name="T51" fmla="*/ 4461 h 4509"/>
              <a:gd name="T52" fmla="*/ 1398 w 3357"/>
              <a:gd name="T53" fmla="*/ 4451 h 4509"/>
              <a:gd name="T54" fmla="*/ 1388 w 3357"/>
              <a:gd name="T55" fmla="*/ 4435 h 4509"/>
              <a:gd name="T56" fmla="*/ 1381 w 3357"/>
              <a:gd name="T57" fmla="*/ 4411 h 4509"/>
              <a:gd name="T58" fmla="*/ 1381 w 3357"/>
              <a:gd name="T59" fmla="*/ 507 h 4509"/>
              <a:gd name="T60" fmla="*/ 104 w 3357"/>
              <a:gd name="T61" fmla="*/ 506 h 4509"/>
              <a:gd name="T62" fmla="*/ 79 w 3357"/>
              <a:gd name="T63" fmla="*/ 499 h 4509"/>
              <a:gd name="T64" fmla="*/ 62 w 3357"/>
              <a:gd name="T65" fmla="*/ 489 h 4509"/>
              <a:gd name="T66" fmla="*/ 52 w 3357"/>
              <a:gd name="T67" fmla="*/ 480 h 4509"/>
              <a:gd name="T68" fmla="*/ 38 w 3357"/>
              <a:gd name="T69" fmla="*/ 463 h 4509"/>
              <a:gd name="T70" fmla="*/ 24 w 3357"/>
              <a:gd name="T71" fmla="*/ 433 h 4509"/>
              <a:gd name="T72" fmla="*/ 13 w 3357"/>
              <a:gd name="T73" fmla="*/ 394 h 4509"/>
              <a:gd name="T74" fmla="*/ 5 w 3357"/>
              <a:gd name="T75" fmla="*/ 346 h 4509"/>
              <a:gd name="T76" fmla="*/ 1 w 3357"/>
              <a:gd name="T77" fmla="*/ 288 h 4509"/>
              <a:gd name="T78" fmla="*/ 1 w 3357"/>
              <a:gd name="T79" fmla="*/ 225 h 4509"/>
              <a:gd name="T80" fmla="*/ 5 w 3357"/>
              <a:gd name="T81" fmla="*/ 167 h 4509"/>
              <a:gd name="T82" fmla="*/ 13 w 3357"/>
              <a:gd name="T83" fmla="*/ 117 h 4509"/>
              <a:gd name="T84" fmla="*/ 24 w 3357"/>
              <a:gd name="T85" fmla="*/ 76 h 4509"/>
              <a:gd name="T86" fmla="*/ 38 w 3357"/>
              <a:gd name="T87" fmla="*/ 44 h 4509"/>
              <a:gd name="T88" fmla="*/ 52 w 3357"/>
              <a:gd name="T89" fmla="*/ 27 h 4509"/>
              <a:gd name="T90" fmla="*/ 62 w 3357"/>
              <a:gd name="T91" fmla="*/ 19 h 4509"/>
              <a:gd name="T92" fmla="*/ 79 w 3357"/>
              <a:gd name="T93" fmla="*/ 8 h 4509"/>
              <a:gd name="T94" fmla="*/ 104 w 3357"/>
              <a:gd name="T95" fmla="*/ 1 h 4509"/>
              <a:gd name="T96" fmla="*/ 3238 w 3357"/>
              <a:gd name="T97" fmla="*/ 0 h 4509"/>
              <a:gd name="T98" fmla="*/ 3265 w 3357"/>
              <a:gd name="T99" fmla="*/ 4 h 4509"/>
              <a:gd name="T100" fmla="*/ 3290 w 3357"/>
              <a:gd name="T101" fmla="*/ 14 h 4509"/>
              <a:gd name="T102" fmla="*/ 3310 w 3357"/>
              <a:gd name="T103" fmla="*/ 33 h 4509"/>
              <a:gd name="T104" fmla="*/ 3327 w 3357"/>
              <a:gd name="T105" fmla="*/ 59 h 4509"/>
              <a:gd name="T106" fmla="*/ 3341 w 3357"/>
              <a:gd name="T107" fmla="*/ 95 h 4509"/>
              <a:gd name="T108" fmla="*/ 3350 w 3357"/>
              <a:gd name="T109" fmla="*/ 141 h 4509"/>
              <a:gd name="T110" fmla="*/ 3355 w 3357"/>
              <a:gd name="T111" fmla="*/ 195 h 4509"/>
              <a:gd name="T112" fmla="*/ 3357 w 3357"/>
              <a:gd name="T113" fmla="*/ 257 h 4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57" h="4509">
                <a:moveTo>
                  <a:pt x="3357" y="257"/>
                </a:moveTo>
                <a:lnTo>
                  <a:pt x="3357" y="288"/>
                </a:lnTo>
                <a:lnTo>
                  <a:pt x="3355" y="318"/>
                </a:lnTo>
                <a:lnTo>
                  <a:pt x="3353" y="346"/>
                </a:lnTo>
                <a:lnTo>
                  <a:pt x="3350" y="371"/>
                </a:lnTo>
                <a:lnTo>
                  <a:pt x="3346" y="394"/>
                </a:lnTo>
                <a:lnTo>
                  <a:pt x="3341" y="415"/>
                </a:lnTo>
                <a:lnTo>
                  <a:pt x="3335" y="433"/>
                </a:lnTo>
                <a:lnTo>
                  <a:pt x="3327" y="449"/>
                </a:lnTo>
                <a:lnTo>
                  <a:pt x="3318" y="463"/>
                </a:lnTo>
                <a:lnTo>
                  <a:pt x="3310" y="475"/>
                </a:lnTo>
                <a:lnTo>
                  <a:pt x="3300" y="484"/>
                </a:lnTo>
                <a:lnTo>
                  <a:pt x="3290" y="493"/>
                </a:lnTo>
                <a:lnTo>
                  <a:pt x="3278" y="499"/>
                </a:lnTo>
                <a:lnTo>
                  <a:pt x="3265" y="504"/>
                </a:lnTo>
                <a:lnTo>
                  <a:pt x="3252" y="506"/>
                </a:lnTo>
                <a:lnTo>
                  <a:pt x="3238" y="507"/>
                </a:lnTo>
                <a:lnTo>
                  <a:pt x="1977" y="507"/>
                </a:lnTo>
                <a:lnTo>
                  <a:pt x="1977" y="4398"/>
                </a:lnTo>
                <a:lnTo>
                  <a:pt x="1976" y="4411"/>
                </a:lnTo>
                <a:lnTo>
                  <a:pt x="1973" y="4423"/>
                </a:lnTo>
                <a:lnTo>
                  <a:pt x="1968" y="4435"/>
                </a:lnTo>
                <a:lnTo>
                  <a:pt x="1963" y="4446"/>
                </a:lnTo>
                <a:lnTo>
                  <a:pt x="1959" y="4451"/>
                </a:lnTo>
                <a:lnTo>
                  <a:pt x="1954" y="4457"/>
                </a:lnTo>
                <a:lnTo>
                  <a:pt x="1949" y="4461"/>
                </a:lnTo>
                <a:lnTo>
                  <a:pt x="1944" y="4465"/>
                </a:lnTo>
                <a:lnTo>
                  <a:pt x="1937" y="4469"/>
                </a:lnTo>
                <a:lnTo>
                  <a:pt x="1930" y="4473"/>
                </a:lnTo>
                <a:lnTo>
                  <a:pt x="1922" y="4476"/>
                </a:lnTo>
                <a:lnTo>
                  <a:pt x="1914" y="4479"/>
                </a:lnTo>
                <a:lnTo>
                  <a:pt x="1896" y="4485"/>
                </a:lnTo>
                <a:lnTo>
                  <a:pt x="1874" y="4491"/>
                </a:lnTo>
                <a:lnTo>
                  <a:pt x="1850" y="4495"/>
                </a:lnTo>
                <a:lnTo>
                  <a:pt x="1823" y="4499"/>
                </a:lnTo>
                <a:lnTo>
                  <a:pt x="1792" y="4504"/>
                </a:lnTo>
                <a:lnTo>
                  <a:pt x="1757" y="4507"/>
                </a:lnTo>
                <a:lnTo>
                  <a:pt x="1720" y="4508"/>
                </a:lnTo>
                <a:lnTo>
                  <a:pt x="1678" y="4509"/>
                </a:lnTo>
                <a:lnTo>
                  <a:pt x="1639" y="4508"/>
                </a:lnTo>
                <a:lnTo>
                  <a:pt x="1601" y="4507"/>
                </a:lnTo>
                <a:lnTo>
                  <a:pt x="1567" y="4504"/>
                </a:lnTo>
                <a:lnTo>
                  <a:pt x="1537" y="4499"/>
                </a:lnTo>
                <a:lnTo>
                  <a:pt x="1508" y="4495"/>
                </a:lnTo>
                <a:lnTo>
                  <a:pt x="1483" y="4491"/>
                </a:lnTo>
                <a:lnTo>
                  <a:pt x="1462" y="4485"/>
                </a:lnTo>
                <a:lnTo>
                  <a:pt x="1443" y="4479"/>
                </a:lnTo>
                <a:lnTo>
                  <a:pt x="1434" y="4476"/>
                </a:lnTo>
                <a:lnTo>
                  <a:pt x="1427" y="4473"/>
                </a:lnTo>
                <a:lnTo>
                  <a:pt x="1419" y="4469"/>
                </a:lnTo>
                <a:lnTo>
                  <a:pt x="1414" y="4465"/>
                </a:lnTo>
                <a:lnTo>
                  <a:pt x="1407" y="4461"/>
                </a:lnTo>
                <a:lnTo>
                  <a:pt x="1403" y="4457"/>
                </a:lnTo>
                <a:lnTo>
                  <a:pt x="1398" y="4451"/>
                </a:lnTo>
                <a:lnTo>
                  <a:pt x="1395" y="4446"/>
                </a:lnTo>
                <a:lnTo>
                  <a:pt x="1388" y="4435"/>
                </a:lnTo>
                <a:lnTo>
                  <a:pt x="1384" y="4423"/>
                </a:lnTo>
                <a:lnTo>
                  <a:pt x="1381" y="4411"/>
                </a:lnTo>
                <a:lnTo>
                  <a:pt x="1381" y="4398"/>
                </a:lnTo>
                <a:lnTo>
                  <a:pt x="1381" y="507"/>
                </a:lnTo>
                <a:lnTo>
                  <a:pt x="118" y="507"/>
                </a:lnTo>
                <a:lnTo>
                  <a:pt x="104" y="506"/>
                </a:lnTo>
                <a:lnTo>
                  <a:pt x="92" y="504"/>
                </a:lnTo>
                <a:lnTo>
                  <a:pt x="79" y="499"/>
                </a:lnTo>
                <a:lnTo>
                  <a:pt x="67" y="493"/>
                </a:lnTo>
                <a:lnTo>
                  <a:pt x="62" y="489"/>
                </a:lnTo>
                <a:lnTo>
                  <a:pt x="56" y="484"/>
                </a:lnTo>
                <a:lnTo>
                  <a:pt x="52" y="480"/>
                </a:lnTo>
                <a:lnTo>
                  <a:pt x="47" y="475"/>
                </a:lnTo>
                <a:lnTo>
                  <a:pt x="38" y="463"/>
                </a:lnTo>
                <a:lnTo>
                  <a:pt x="31" y="449"/>
                </a:lnTo>
                <a:lnTo>
                  <a:pt x="24" y="433"/>
                </a:lnTo>
                <a:lnTo>
                  <a:pt x="19" y="415"/>
                </a:lnTo>
                <a:lnTo>
                  <a:pt x="13" y="394"/>
                </a:lnTo>
                <a:lnTo>
                  <a:pt x="8" y="371"/>
                </a:lnTo>
                <a:lnTo>
                  <a:pt x="5" y="346"/>
                </a:lnTo>
                <a:lnTo>
                  <a:pt x="2" y="318"/>
                </a:lnTo>
                <a:lnTo>
                  <a:pt x="1" y="288"/>
                </a:lnTo>
                <a:lnTo>
                  <a:pt x="0" y="257"/>
                </a:lnTo>
                <a:lnTo>
                  <a:pt x="1" y="225"/>
                </a:lnTo>
                <a:lnTo>
                  <a:pt x="2" y="195"/>
                </a:lnTo>
                <a:lnTo>
                  <a:pt x="5" y="167"/>
                </a:lnTo>
                <a:lnTo>
                  <a:pt x="8" y="141"/>
                </a:lnTo>
                <a:lnTo>
                  <a:pt x="13" y="117"/>
                </a:lnTo>
                <a:lnTo>
                  <a:pt x="19" y="95"/>
                </a:lnTo>
                <a:lnTo>
                  <a:pt x="24" y="76"/>
                </a:lnTo>
                <a:lnTo>
                  <a:pt x="31" y="59"/>
                </a:lnTo>
                <a:lnTo>
                  <a:pt x="38" y="44"/>
                </a:lnTo>
                <a:lnTo>
                  <a:pt x="47" y="33"/>
                </a:lnTo>
                <a:lnTo>
                  <a:pt x="52" y="27"/>
                </a:lnTo>
                <a:lnTo>
                  <a:pt x="56" y="23"/>
                </a:lnTo>
                <a:lnTo>
                  <a:pt x="62" y="19"/>
                </a:lnTo>
                <a:lnTo>
                  <a:pt x="67" y="14"/>
                </a:lnTo>
                <a:lnTo>
                  <a:pt x="79" y="8"/>
                </a:lnTo>
                <a:lnTo>
                  <a:pt x="92" y="4"/>
                </a:lnTo>
                <a:lnTo>
                  <a:pt x="104" y="1"/>
                </a:lnTo>
                <a:lnTo>
                  <a:pt x="118" y="0"/>
                </a:lnTo>
                <a:lnTo>
                  <a:pt x="3238" y="0"/>
                </a:lnTo>
                <a:lnTo>
                  <a:pt x="3252" y="1"/>
                </a:lnTo>
                <a:lnTo>
                  <a:pt x="3265" y="4"/>
                </a:lnTo>
                <a:lnTo>
                  <a:pt x="3278" y="8"/>
                </a:lnTo>
                <a:lnTo>
                  <a:pt x="3290" y="14"/>
                </a:lnTo>
                <a:lnTo>
                  <a:pt x="3300" y="23"/>
                </a:lnTo>
                <a:lnTo>
                  <a:pt x="3310" y="33"/>
                </a:lnTo>
                <a:lnTo>
                  <a:pt x="3318" y="44"/>
                </a:lnTo>
                <a:lnTo>
                  <a:pt x="3327" y="59"/>
                </a:lnTo>
                <a:lnTo>
                  <a:pt x="3335" y="76"/>
                </a:lnTo>
                <a:lnTo>
                  <a:pt x="3341" y="95"/>
                </a:lnTo>
                <a:lnTo>
                  <a:pt x="3346" y="117"/>
                </a:lnTo>
                <a:lnTo>
                  <a:pt x="3350" y="141"/>
                </a:lnTo>
                <a:lnTo>
                  <a:pt x="3353" y="167"/>
                </a:lnTo>
                <a:lnTo>
                  <a:pt x="3355" y="195"/>
                </a:lnTo>
                <a:lnTo>
                  <a:pt x="3357" y="225"/>
                </a:lnTo>
                <a:lnTo>
                  <a:pt x="3357" y="25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7"/>
          <p:cNvSpPr>
            <a:spLocks/>
          </p:cNvSpPr>
          <p:nvPr/>
        </p:nvSpPr>
        <p:spPr bwMode="auto">
          <a:xfrm>
            <a:off x="5115245" y="2380032"/>
            <a:ext cx="1178876" cy="908674"/>
          </a:xfrm>
          <a:custGeom>
            <a:avLst/>
            <a:gdLst>
              <a:gd name="T0" fmla="*/ 4662 w 5888"/>
              <a:gd name="T1" fmla="*/ 4421 h 4530"/>
              <a:gd name="T2" fmla="*/ 4631 w 5888"/>
              <a:gd name="T3" fmla="*/ 4463 h 4530"/>
              <a:gd name="T4" fmla="*/ 4585 w 5888"/>
              <a:gd name="T5" fmla="*/ 4491 h 4530"/>
              <a:gd name="T6" fmla="*/ 4476 w 5888"/>
              <a:gd name="T7" fmla="*/ 4518 h 4530"/>
              <a:gd name="T8" fmla="*/ 4362 w 5888"/>
              <a:gd name="T9" fmla="*/ 4528 h 4530"/>
              <a:gd name="T10" fmla="*/ 4240 w 5888"/>
              <a:gd name="T11" fmla="*/ 4530 h 4530"/>
              <a:gd name="T12" fmla="*/ 4124 w 5888"/>
              <a:gd name="T13" fmla="*/ 4526 h 4530"/>
              <a:gd name="T14" fmla="*/ 3988 w 5888"/>
              <a:gd name="T15" fmla="*/ 4508 h 4530"/>
              <a:gd name="T16" fmla="*/ 3919 w 5888"/>
              <a:gd name="T17" fmla="*/ 4481 h 4530"/>
              <a:gd name="T18" fmla="*/ 3883 w 5888"/>
              <a:gd name="T19" fmla="*/ 4448 h 4530"/>
              <a:gd name="T20" fmla="*/ 3858 w 5888"/>
              <a:gd name="T21" fmla="*/ 4400 h 4530"/>
              <a:gd name="T22" fmla="*/ 2037 w 5888"/>
              <a:gd name="T23" fmla="*/ 4377 h 4530"/>
              <a:gd name="T24" fmla="*/ 2019 w 5888"/>
              <a:gd name="T25" fmla="*/ 4430 h 4530"/>
              <a:gd name="T26" fmla="*/ 1989 w 5888"/>
              <a:gd name="T27" fmla="*/ 4469 h 4530"/>
              <a:gd name="T28" fmla="*/ 1944 w 5888"/>
              <a:gd name="T29" fmla="*/ 4496 h 4530"/>
              <a:gd name="T30" fmla="*/ 1817 w 5888"/>
              <a:gd name="T31" fmla="*/ 4523 h 4530"/>
              <a:gd name="T32" fmla="*/ 1713 w 5888"/>
              <a:gd name="T33" fmla="*/ 4529 h 4530"/>
              <a:gd name="T34" fmla="*/ 1580 w 5888"/>
              <a:gd name="T35" fmla="*/ 4530 h 4530"/>
              <a:gd name="T36" fmla="*/ 1463 w 5888"/>
              <a:gd name="T37" fmla="*/ 4525 h 4530"/>
              <a:gd name="T38" fmla="*/ 1320 w 5888"/>
              <a:gd name="T39" fmla="*/ 4500 h 4530"/>
              <a:gd name="T40" fmla="*/ 1267 w 5888"/>
              <a:gd name="T41" fmla="*/ 4475 h 4530"/>
              <a:gd name="T42" fmla="*/ 1232 w 5888"/>
              <a:gd name="T43" fmla="*/ 4439 h 4530"/>
              <a:gd name="T44" fmla="*/ 1211 w 5888"/>
              <a:gd name="T45" fmla="*/ 4389 h 4530"/>
              <a:gd name="T46" fmla="*/ 2 w 5888"/>
              <a:gd name="T47" fmla="*/ 133 h 4530"/>
              <a:gd name="T48" fmla="*/ 6 w 5888"/>
              <a:gd name="T49" fmla="*/ 68 h 4530"/>
              <a:gd name="T50" fmla="*/ 35 w 5888"/>
              <a:gd name="T51" fmla="*/ 33 h 4530"/>
              <a:gd name="T52" fmla="*/ 92 w 5888"/>
              <a:gd name="T53" fmla="*/ 12 h 4530"/>
              <a:gd name="T54" fmla="*/ 178 w 5888"/>
              <a:gd name="T55" fmla="*/ 3 h 4530"/>
              <a:gd name="T56" fmla="*/ 301 w 5888"/>
              <a:gd name="T57" fmla="*/ 0 h 4530"/>
              <a:gd name="T58" fmla="*/ 416 w 5888"/>
              <a:gd name="T59" fmla="*/ 2 h 4530"/>
              <a:gd name="T60" fmla="*/ 524 w 5888"/>
              <a:gd name="T61" fmla="*/ 13 h 4530"/>
              <a:gd name="T62" fmla="*/ 572 w 5888"/>
              <a:gd name="T63" fmla="*/ 29 h 4530"/>
              <a:gd name="T64" fmla="*/ 602 w 5888"/>
              <a:gd name="T65" fmla="*/ 51 h 4530"/>
              <a:gd name="T66" fmla="*/ 625 w 5888"/>
              <a:gd name="T67" fmla="*/ 107 h 4530"/>
              <a:gd name="T68" fmla="*/ 2605 w 5888"/>
              <a:gd name="T69" fmla="*/ 113 h 4530"/>
              <a:gd name="T70" fmla="*/ 2634 w 5888"/>
              <a:gd name="T71" fmla="*/ 57 h 4530"/>
              <a:gd name="T72" fmla="*/ 2667 w 5888"/>
              <a:gd name="T73" fmla="*/ 32 h 4530"/>
              <a:gd name="T74" fmla="*/ 2774 w 5888"/>
              <a:gd name="T75" fmla="*/ 7 h 4530"/>
              <a:gd name="T76" fmla="*/ 2870 w 5888"/>
              <a:gd name="T77" fmla="*/ 1 h 4530"/>
              <a:gd name="T78" fmla="*/ 3030 w 5888"/>
              <a:gd name="T79" fmla="*/ 2 h 4530"/>
              <a:gd name="T80" fmla="*/ 3170 w 5888"/>
              <a:gd name="T81" fmla="*/ 21 h 4530"/>
              <a:gd name="T82" fmla="*/ 3219 w 5888"/>
              <a:gd name="T83" fmla="*/ 45 h 4530"/>
              <a:gd name="T84" fmla="*/ 3246 w 5888"/>
              <a:gd name="T85" fmla="*/ 82 h 4530"/>
              <a:gd name="T86" fmla="*/ 4301 w 5888"/>
              <a:gd name="T87" fmla="*/ 3884 h 4530"/>
              <a:gd name="T88" fmla="*/ 5311 w 5888"/>
              <a:gd name="T89" fmla="*/ 68 h 4530"/>
              <a:gd name="T90" fmla="*/ 5332 w 5888"/>
              <a:gd name="T91" fmla="*/ 41 h 4530"/>
              <a:gd name="T92" fmla="*/ 5395 w 5888"/>
              <a:gd name="T93" fmla="*/ 16 h 4530"/>
              <a:gd name="T94" fmla="*/ 5499 w 5888"/>
              <a:gd name="T95" fmla="*/ 3 h 4530"/>
              <a:gd name="T96" fmla="*/ 5609 w 5888"/>
              <a:gd name="T97" fmla="*/ 0 h 4530"/>
              <a:gd name="T98" fmla="*/ 5722 w 5888"/>
              <a:gd name="T99" fmla="*/ 4 h 4530"/>
              <a:gd name="T100" fmla="*/ 5801 w 5888"/>
              <a:gd name="T101" fmla="*/ 15 h 4530"/>
              <a:gd name="T102" fmla="*/ 5855 w 5888"/>
              <a:gd name="T103" fmla="*/ 36 h 4530"/>
              <a:gd name="T104" fmla="*/ 5883 w 5888"/>
              <a:gd name="T105" fmla="*/ 72 h 4530"/>
              <a:gd name="T106" fmla="*/ 5887 w 5888"/>
              <a:gd name="T107" fmla="*/ 136 h 4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888" h="4530">
                <a:moveTo>
                  <a:pt x="4679" y="4377"/>
                </a:moveTo>
                <a:lnTo>
                  <a:pt x="4676" y="4389"/>
                </a:lnTo>
                <a:lnTo>
                  <a:pt x="4672" y="4400"/>
                </a:lnTo>
                <a:lnTo>
                  <a:pt x="4668" y="4411"/>
                </a:lnTo>
                <a:lnTo>
                  <a:pt x="4662" y="4421"/>
                </a:lnTo>
                <a:lnTo>
                  <a:pt x="4657" y="4430"/>
                </a:lnTo>
                <a:lnTo>
                  <a:pt x="4652" y="4439"/>
                </a:lnTo>
                <a:lnTo>
                  <a:pt x="4645" y="4448"/>
                </a:lnTo>
                <a:lnTo>
                  <a:pt x="4639" y="4455"/>
                </a:lnTo>
                <a:lnTo>
                  <a:pt x="4631" y="4463"/>
                </a:lnTo>
                <a:lnTo>
                  <a:pt x="4623" y="4469"/>
                </a:lnTo>
                <a:lnTo>
                  <a:pt x="4614" y="4475"/>
                </a:lnTo>
                <a:lnTo>
                  <a:pt x="4606" y="4481"/>
                </a:lnTo>
                <a:lnTo>
                  <a:pt x="4596" y="4486"/>
                </a:lnTo>
                <a:lnTo>
                  <a:pt x="4585" y="4491"/>
                </a:lnTo>
                <a:lnTo>
                  <a:pt x="4573" y="4496"/>
                </a:lnTo>
                <a:lnTo>
                  <a:pt x="4562" y="4500"/>
                </a:lnTo>
                <a:lnTo>
                  <a:pt x="4536" y="4508"/>
                </a:lnTo>
                <a:lnTo>
                  <a:pt x="4507" y="4514"/>
                </a:lnTo>
                <a:lnTo>
                  <a:pt x="4476" y="4518"/>
                </a:lnTo>
                <a:lnTo>
                  <a:pt x="4442" y="4523"/>
                </a:lnTo>
                <a:lnTo>
                  <a:pt x="4424" y="4525"/>
                </a:lnTo>
                <a:lnTo>
                  <a:pt x="4404" y="4526"/>
                </a:lnTo>
                <a:lnTo>
                  <a:pt x="4384" y="4527"/>
                </a:lnTo>
                <a:lnTo>
                  <a:pt x="4362" y="4528"/>
                </a:lnTo>
                <a:lnTo>
                  <a:pt x="4340" y="4529"/>
                </a:lnTo>
                <a:lnTo>
                  <a:pt x="4316" y="4530"/>
                </a:lnTo>
                <a:lnTo>
                  <a:pt x="4293" y="4530"/>
                </a:lnTo>
                <a:lnTo>
                  <a:pt x="4267" y="4530"/>
                </a:lnTo>
                <a:lnTo>
                  <a:pt x="4240" y="4530"/>
                </a:lnTo>
                <a:lnTo>
                  <a:pt x="4216" y="4530"/>
                </a:lnTo>
                <a:lnTo>
                  <a:pt x="4191" y="4529"/>
                </a:lnTo>
                <a:lnTo>
                  <a:pt x="4168" y="4528"/>
                </a:lnTo>
                <a:lnTo>
                  <a:pt x="4145" y="4527"/>
                </a:lnTo>
                <a:lnTo>
                  <a:pt x="4124" y="4526"/>
                </a:lnTo>
                <a:lnTo>
                  <a:pt x="4103" y="4525"/>
                </a:lnTo>
                <a:lnTo>
                  <a:pt x="4084" y="4523"/>
                </a:lnTo>
                <a:lnTo>
                  <a:pt x="4049" y="4518"/>
                </a:lnTo>
                <a:lnTo>
                  <a:pt x="4017" y="4514"/>
                </a:lnTo>
                <a:lnTo>
                  <a:pt x="3988" y="4508"/>
                </a:lnTo>
                <a:lnTo>
                  <a:pt x="3961" y="4500"/>
                </a:lnTo>
                <a:lnTo>
                  <a:pt x="3949" y="4496"/>
                </a:lnTo>
                <a:lnTo>
                  <a:pt x="3939" y="4491"/>
                </a:lnTo>
                <a:lnTo>
                  <a:pt x="3929" y="4486"/>
                </a:lnTo>
                <a:lnTo>
                  <a:pt x="3919" y="4481"/>
                </a:lnTo>
                <a:lnTo>
                  <a:pt x="3911" y="4475"/>
                </a:lnTo>
                <a:lnTo>
                  <a:pt x="3902" y="4469"/>
                </a:lnTo>
                <a:lnTo>
                  <a:pt x="3896" y="4463"/>
                </a:lnTo>
                <a:lnTo>
                  <a:pt x="3889" y="4455"/>
                </a:lnTo>
                <a:lnTo>
                  <a:pt x="3883" y="4448"/>
                </a:lnTo>
                <a:lnTo>
                  <a:pt x="3877" y="4439"/>
                </a:lnTo>
                <a:lnTo>
                  <a:pt x="3872" y="4430"/>
                </a:lnTo>
                <a:lnTo>
                  <a:pt x="3867" y="4421"/>
                </a:lnTo>
                <a:lnTo>
                  <a:pt x="3863" y="4411"/>
                </a:lnTo>
                <a:lnTo>
                  <a:pt x="3858" y="4400"/>
                </a:lnTo>
                <a:lnTo>
                  <a:pt x="3855" y="4389"/>
                </a:lnTo>
                <a:lnTo>
                  <a:pt x="3852" y="4377"/>
                </a:lnTo>
                <a:lnTo>
                  <a:pt x="2912" y="988"/>
                </a:lnTo>
                <a:lnTo>
                  <a:pt x="2904" y="988"/>
                </a:lnTo>
                <a:lnTo>
                  <a:pt x="2037" y="4377"/>
                </a:lnTo>
                <a:lnTo>
                  <a:pt x="2034" y="4389"/>
                </a:lnTo>
                <a:lnTo>
                  <a:pt x="2031" y="4400"/>
                </a:lnTo>
                <a:lnTo>
                  <a:pt x="2027" y="4411"/>
                </a:lnTo>
                <a:lnTo>
                  <a:pt x="2023" y="4421"/>
                </a:lnTo>
                <a:lnTo>
                  <a:pt x="2019" y="4430"/>
                </a:lnTo>
                <a:lnTo>
                  <a:pt x="2014" y="4439"/>
                </a:lnTo>
                <a:lnTo>
                  <a:pt x="2008" y="4448"/>
                </a:lnTo>
                <a:lnTo>
                  <a:pt x="2002" y="4455"/>
                </a:lnTo>
                <a:lnTo>
                  <a:pt x="1995" y="4463"/>
                </a:lnTo>
                <a:lnTo>
                  <a:pt x="1989" y="4469"/>
                </a:lnTo>
                <a:lnTo>
                  <a:pt x="1981" y="4475"/>
                </a:lnTo>
                <a:lnTo>
                  <a:pt x="1973" y="4481"/>
                </a:lnTo>
                <a:lnTo>
                  <a:pt x="1963" y="4486"/>
                </a:lnTo>
                <a:lnTo>
                  <a:pt x="1954" y="4491"/>
                </a:lnTo>
                <a:lnTo>
                  <a:pt x="1944" y="4496"/>
                </a:lnTo>
                <a:lnTo>
                  <a:pt x="1932" y="4500"/>
                </a:lnTo>
                <a:lnTo>
                  <a:pt x="1909" y="4508"/>
                </a:lnTo>
                <a:lnTo>
                  <a:pt x="1881" y="4514"/>
                </a:lnTo>
                <a:lnTo>
                  <a:pt x="1851" y="4518"/>
                </a:lnTo>
                <a:lnTo>
                  <a:pt x="1817" y="4523"/>
                </a:lnTo>
                <a:lnTo>
                  <a:pt x="1798" y="4525"/>
                </a:lnTo>
                <a:lnTo>
                  <a:pt x="1778" y="4526"/>
                </a:lnTo>
                <a:lnTo>
                  <a:pt x="1758" y="4527"/>
                </a:lnTo>
                <a:lnTo>
                  <a:pt x="1735" y="4528"/>
                </a:lnTo>
                <a:lnTo>
                  <a:pt x="1713" y="4529"/>
                </a:lnTo>
                <a:lnTo>
                  <a:pt x="1688" y="4530"/>
                </a:lnTo>
                <a:lnTo>
                  <a:pt x="1662" y="4530"/>
                </a:lnTo>
                <a:lnTo>
                  <a:pt x="1636" y="4530"/>
                </a:lnTo>
                <a:lnTo>
                  <a:pt x="1607" y="4530"/>
                </a:lnTo>
                <a:lnTo>
                  <a:pt x="1580" y="4530"/>
                </a:lnTo>
                <a:lnTo>
                  <a:pt x="1554" y="4529"/>
                </a:lnTo>
                <a:lnTo>
                  <a:pt x="1530" y="4528"/>
                </a:lnTo>
                <a:lnTo>
                  <a:pt x="1506" y="4527"/>
                </a:lnTo>
                <a:lnTo>
                  <a:pt x="1485" y="4526"/>
                </a:lnTo>
                <a:lnTo>
                  <a:pt x="1463" y="4525"/>
                </a:lnTo>
                <a:lnTo>
                  <a:pt x="1444" y="4523"/>
                </a:lnTo>
                <a:lnTo>
                  <a:pt x="1408" y="4518"/>
                </a:lnTo>
                <a:lnTo>
                  <a:pt x="1374" y="4514"/>
                </a:lnTo>
                <a:lnTo>
                  <a:pt x="1345" y="4508"/>
                </a:lnTo>
                <a:lnTo>
                  <a:pt x="1320" y="4500"/>
                </a:lnTo>
                <a:lnTo>
                  <a:pt x="1308" y="4496"/>
                </a:lnTo>
                <a:lnTo>
                  <a:pt x="1296" y="4491"/>
                </a:lnTo>
                <a:lnTo>
                  <a:pt x="1287" y="4486"/>
                </a:lnTo>
                <a:lnTo>
                  <a:pt x="1277" y="4481"/>
                </a:lnTo>
                <a:lnTo>
                  <a:pt x="1267" y="4475"/>
                </a:lnTo>
                <a:lnTo>
                  <a:pt x="1260" y="4469"/>
                </a:lnTo>
                <a:lnTo>
                  <a:pt x="1251" y="4463"/>
                </a:lnTo>
                <a:lnTo>
                  <a:pt x="1245" y="4455"/>
                </a:lnTo>
                <a:lnTo>
                  <a:pt x="1238" y="4448"/>
                </a:lnTo>
                <a:lnTo>
                  <a:pt x="1232" y="4439"/>
                </a:lnTo>
                <a:lnTo>
                  <a:pt x="1227" y="4430"/>
                </a:lnTo>
                <a:lnTo>
                  <a:pt x="1222" y="4421"/>
                </a:lnTo>
                <a:lnTo>
                  <a:pt x="1218" y="4411"/>
                </a:lnTo>
                <a:lnTo>
                  <a:pt x="1214" y="4400"/>
                </a:lnTo>
                <a:lnTo>
                  <a:pt x="1211" y="4389"/>
                </a:lnTo>
                <a:lnTo>
                  <a:pt x="1208" y="4377"/>
                </a:lnTo>
                <a:lnTo>
                  <a:pt x="22" y="233"/>
                </a:lnTo>
                <a:lnTo>
                  <a:pt x="13" y="196"/>
                </a:lnTo>
                <a:lnTo>
                  <a:pt x="6" y="162"/>
                </a:lnTo>
                <a:lnTo>
                  <a:pt x="2" y="133"/>
                </a:lnTo>
                <a:lnTo>
                  <a:pt x="0" y="108"/>
                </a:lnTo>
                <a:lnTo>
                  <a:pt x="0" y="97"/>
                </a:lnTo>
                <a:lnTo>
                  <a:pt x="1" y="87"/>
                </a:lnTo>
                <a:lnTo>
                  <a:pt x="3" y="77"/>
                </a:lnTo>
                <a:lnTo>
                  <a:pt x="6" y="68"/>
                </a:lnTo>
                <a:lnTo>
                  <a:pt x="9" y="60"/>
                </a:lnTo>
                <a:lnTo>
                  <a:pt x="15" y="52"/>
                </a:lnTo>
                <a:lnTo>
                  <a:pt x="21" y="45"/>
                </a:lnTo>
                <a:lnTo>
                  <a:pt x="28" y="39"/>
                </a:lnTo>
                <a:lnTo>
                  <a:pt x="35" y="33"/>
                </a:lnTo>
                <a:lnTo>
                  <a:pt x="45" y="28"/>
                </a:lnTo>
                <a:lnTo>
                  <a:pt x="54" y="22"/>
                </a:lnTo>
                <a:lnTo>
                  <a:pt x="66" y="18"/>
                </a:lnTo>
                <a:lnTo>
                  <a:pt x="78" y="15"/>
                </a:lnTo>
                <a:lnTo>
                  <a:pt x="92" y="12"/>
                </a:lnTo>
                <a:lnTo>
                  <a:pt x="107" y="10"/>
                </a:lnTo>
                <a:lnTo>
                  <a:pt x="123" y="7"/>
                </a:lnTo>
                <a:lnTo>
                  <a:pt x="140" y="5"/>
                </a:lnTo>
                <a:lnTo>
                  <a:pt x="158" y="4"/>
                </a:lnTo>
                <a:lnTo>
                  <a:pt x="178" y="3"/>
                </a:lnTo>
                <a:lnTo>
                  <a:pt x="200" y="2"/>
                </a:lnTo>
                <a:lnTo>
                  <a:pt x="222" y="1"/>
                </a:lnTo>
                <a:lnTo>
                  <a:pt x="247" y="0"/>
                </a:lnTo>
                <a:lnTo>
                  <a:pt x="273" y="0"/>
                </a:lnTo>
                <a:lnTo>
                  <a:pt x="301" y="0"/>
                </a:lnTo>
                <a:lnTo>
                  <a:pt x="326" y="0"/>
                </a:lnTo>
                <a:lnTo>
                  <a:pt x="351" y="0"/>
                </a:lnTo>
                <a:lnTo>
                  <a:pt x="374" y="1"/>
                </a:lnTo>
                <a:lnTo>
                  <a:pt x="396" y="2"/>
                </a:lnTo>
                <a:lnTo>
                  <a:pt x="416" y="2"/>
                </a:lnTo>
                <a:lnTo>
                  <a:pt x="435" y="3"/>
                </a:lnTo>
                <a:lnTo>
                  <a:pt x="453" y="4"/>
                </a:lnTo>
                <a:lnTo>
                  <a:pt x="470" y="6"/>
                </a:lnTo>
                <a:lnTo>
                  <a:pt x="499" y="9"/>
                </a:lnTo>
                <a:lnTo>
                  <a:pt x="524" y="13"/>
                </a:lnTo>
                <a:lnTo>
                  <a:pt x="536" y="16"/>
                </a:lnTo>
                <a:lnTo>
                  <a:pt x="547" y="18"/>
                </a:lnTo>
                <a:lnTo>
                  <a:pt x="556" y="21"/>
                </a:lnTo>
                <a:lnTo>
                  <a:pt x="565" y="25"/>
                </a:lnTo>
                <a:lnTo>
                  <a:pt x="572" y="29"/>
                </a:lnTo>
                <a:lnTo>
                  <a:pt x="580" y="32"/>
                </a:lnTo>
                <a:lnTo>
                  <a:pt x="586" y="36"/>
                </a:lnTo>
                <a:lnTo>
                  <a:pt x="593" y="41"/>
                </a:lnTo>
                <a:lnTo>
                  <a:pt x="598" y="46"/>
                </a:lnTo>
                <a:lnTo>
                  <a:pt x="602" y="51"/>
                </a:lnTo>
                <a:lnTo>
                  <a:pt x="607" y="57"/>
                </a:lnTo>
                <a:lnTo>
                  <a:pt x="610" y="63"/>
                </a:lnTo>
                <a:lnTo>
                  <a:pt x="616" y="76"/>
                </a:lnTo>
                <a:lnTo>
                  <a:pt x="621" y="91"/>
                </a:lnTo>
                <a:lnTo>
                  <a:pt x="625" y="107"/>
                </a:lnTo>
                <a:lnTo>
                  <a:pt x="629" y="125"/>
                </a:lnTo>
                <a:lnTo>
                  <a:pt x="1638" y="3884"/>
                </a:lnTo>
                <a:lnTo>
                  <a:pt x="1641" y="3884"/>
                </a:lnTo>
                <a:lnTo>
                  <a:pt x="2599" y="133"/>
                </a:lnTo>
                <a:lnTo>
                  <a:pt x="2605" y="113"/>
                </a:lnTo>
                <a:lnTo>
                  <a:pt x="2611" y="97"/>
                </a:lnTo>
                <a:lnTo>
                  <a:pt x="2617" y="82"/>
                </a:lnTo>
                <a:lnTo>
                  <a:pt x="2625" y="68"/>
                </a:lnTo>
                <a:lnTo>
                  <a:pt x="2629" y="62"/>
                </a:lnTo>
                <a:lnTo>
                  <a:pt x="2634" y="57"/>
                </a:lnTo>
                <a:lnTo>
                  <a:pt x="2640" y="50"/>
                </a:lnTo>
                <a:lnTo>
                  <a:pt x="2645" y="45"/>
                </a:lnTo>
                <a:lnTo>
                  <a:pt x="2652" y="41"/>
                </a:lnTo>
                <a:lnTo>
                  <a:pt x="2659" y="36"/>
                </a:lnTo>
                <a:lnTo>
                  <a:pt x="2667" y="32"/>
                </a:lnTo>
                <a:lnTo>
                  <a:pt x="2674" y="29"/>
                </a:lnTo>
                <a:lnTo>
                  <a:pt x="2694" y="21"/>
                </a:lnTo>
                <a:lnTo>
                  <a:pt x="2717" y="16"/>
                </a:lnTo>
                <a:lnTo>
                  <a:pt x="2744" y="11"/>
                </a:lnTo>
                <a:lnTo>
                  <a:pt x="2774" y="7"/>
                </a:lnTo>
                <a:lnTo>
                  <a:pt x="2791" y="5"/>
                </a:lnTo>
                <a:lnTo>
                  <a:pt x="2809" y="4"/>
                </a:lnTo>
                <a:lnTo>
                  <a:pt x="2827" y="3"/>
                </a:lnTo>
                <a:lnTo>
                  <a:pt x="2848" y="2"/>
                </a:lnTo>
                <a:lnTo>
                  <a:pt x="2870" y="1"/>
                </a:lnTo>
                <a:lnTo>
                  <a:pt x="2893" y="0"/>
                </a:lnTo>
                <a:lnTo>
                  <a:pt x="2917" y="0"/>
                </a:lnTo>
                <a:lnTo>
                  <a:pt x="2942" y="0"/>
                </a:lnTo>
                <a:lnTo>
                  <a:pt x="2989" y="0"/>
                </a:lnTo>
                <a:lnTo>
                  <a:pt x="3030" y="2"/>
                </a:lnTo>
                <a:lnTo>
                  <a:pt x="3065" y="4"/>
                </a:lnTo>
                <a:lnTo>
                  <a:pt x="3096" y="7"/>
                </a:lnTo>
                <a:lnTo>
                  <a:pt x="3124" y="11"/>
                </a:lnTo>
                <a:lnTo>
                  <a:pt x="3148" y="16"/>
                </a:lnTo>
                <a:lnTo>
                  <a:pt x="3170" y="21"/>
                </a:lnTo>
                <a:lnTo>
                  <a:pt x="3188" y="29"/>
                </a:lnTo>
                <a:lnTo>
                  <a:pt x="3197" y="32"/>
                </a:lnTo>
                <a:lnTo>
                  <a:pt x="3205" y="36"/>
                </a:lnTo>
                <a:lnTo>
                  <a:pt x="3212" y="41"/>
                </a:lnTo>
                <a:lnTo>
                  <a:pt x="3219" y="45"/>
                </a:lnTo>
                <a:lnTo>
                  <a:pt x="3224" y="50"/>
                </a:lnTo>
                <a:lnTo>
                  <a:pt x="3230" y="57"/>
                </a:lnTo>
                <a:lnTo>
                  <a:pt x="3235" y="62"/>
                </a:lnTo>
                <a:lnTo>
                  <a:pt x="3239" y="68"/>
                </a:lnTo>
                <a:lnTo>
                  <a:pt x="3246" y="82"/>
                </a:lnTo>
                <a:lnTo>
                  <a:pt x="3253" y="97"/>
                </a:lnTo>
                <a:lnTo>
                  <a:pt x="3259" y="113"/>
                </a:lnTo>
                <a:lnTo>
                  <a:pt x="3264" y="133"/>
                </a:lnTo>
                <a:lnTo>
                  <a:pt x="4295" y="3884"/>
                </a:lnTo>
                <a:lnTo>
                  <a:pt x="4301" y="3884"/>
                </a:lnTo>
                <a:lnTo>
                  <a:pt x="5290" y="130"/>
                </a:lnTo>
                <a:lnTo>
                  <a:pt x="5295" y="112"/>
                </a:lnTo>
                <a:lnTo>
                  <a:pt x="5300" y="96"/>
                </a:lnTo>
                <a:lnTo>
                  <a:pt x="5306" y="81"/>
                </a:lnTo>
                <a:lnTo>
                  <a:pt x="5311" y="68"/>
                </a:lnTo>
                <a:lnTo>
                  <a:pt x="5314" y="62"/>
                </a:lnTo>
                <a:lnTo>
                  <a:pt x="5317" y="57"/>
                </a:lnTo>
                <a:lnTo>
                  <a:pt x="5322" y="50"/>
                </a:lnTo>
                <a:lnTo>
                  <a:pt x="5327" y="45"/>
                </a:lnTo>
                <a:lnTo>
                  <a:pt x="5332" y="41"/>
                </a:lnTo>
                <a:lnTo>
                  <a:pt x="5339" y="36"/>
                </a:lnTo>
                <a:lnTo>
                  <a:pt x="5346" y="32"/>
                </a:lnTo>
                <a:lnTo>
                  <a:pt x="5355" y="29"/>
                </a:lnTo>
                <a:lnTo>
                  <a:pt x="5372" y="21"/>
                </a:lnTo>
                <a:lnTo>
                  <a:pt x="5395" y="16"/>
                </a:lnTo>
                <a:lnTo>
                  <a:pt x="5419" y="11"/>
                </a:lnTo>
                <a:lnTo>
                  <a:pt x="5448" y="7"/>
                </a:lnTo>
                <a:lnTo>
                  <a:pt x="5464" y="5"/>
                </a:lnTo>
                <a:lnTo>
                  <a:pt x="5481" y="4"/>
                </a:lnTo>
                <a:lnTo>
                  <a:pt x="5499" y="3"/>
                </a:lnTo>
                <a:lnTo>
                  <a:pt x="5519" y="2"/>
                </a:lnTo>
                <a:lnTo>
                  <a:pt x="5539" y="1"/>
                </a:lnTo>
                <a:lnTo>
                  <a:pt x="5562" y="0"/>
                </a:lnTo>
                <a:lnTo>
                  <a:pt x="5584" y="0"/>
                </a:lnTo>
                <a:lnTo>
                  <a:pt x="5609" y="0"/>
                </a:lnTo>
                <a:lnTo>
                  <a:pt x="5634" y="0"/>
                </a:lnTo>
                <a:lnTo>
                  <a:pt x="5659" y="1"/>
                </a:lnTo>
                <a:lnTo>
                  <a:pt x="5681" y="1"/>
                </a:lnTo>
                <a:lnTo>
                  <a:pt x="5703" y="2"/>
                </a:lnTo>
                <a:lnTo>
                  <a:pt x="5722" y="4"/>
                </a:lnTo>
                <a:lnTo>
                  <a:pt x="5740" y="5"/>
                </a:lnTo>
                <a:lnTo>
                  <a:pt x="5758" y="7"/>
                </a:lnTo>
                <a:lnTo>
                  <a:pt x="5774" y="10"/>
                </a:lnTo>
                <a:lnTo>
                  <a:pt x="5789" y="12"/>
                </a:lnTo>
                <a:lnTo>
                  <a:pt x="5801" y="15"/>
                </a:lnTo>
                <a:lnTo>
                  <a:pt x="5814" y="18"/>
                </a:lnTo>
                <a:lnTo>
                  <a:pt x="5826" y="22"/>
                </a:lnTo>
                <a:lnTo>
                  <a:pt x="5837" y="27"/>
                </a:lnTo>
                <a:lnTo>
                  <a:pt x="5846" y="31"/>
                </a:lnTo>
                <a:lnTo>
                  <a:pt x="5855" y="36"/>
                </a:lnTo>
                <a:lnTo>
                  <a:pt x="5862" y="43"/>
                </a:lnTo>
                <a:lnTo>
                  <a:pt x="5869" y="49"/>
                </a:lnTo>
                <a:lnTo>
                  <a:pt x="5874" y="56"/>
                </a:lnTo>
                <a:lnTo>
                  <a:pt x="5878" y="63"/>
                </a:lnTo>
                <a:lnTo>
                  <a:pt x="5883" y="72"/>
                </a:lnTo>
                <a:lnTo>
                  <a:pt x="5886" y="80"/>
                </a:lnTo>
                <a:lnTo>
                  <a:pt x="5887" y="90"/>
                </a:lnTo>
                <a:lnTo>
                  <a:pt x="5888" y="101"/>
                </a:lnTo>
                <a:lnTo>
                  <a:pt x="5888" y="111"/>
                </a:lnTo>
                <a:lnTo>
                  <a:pt x="5887" y="136"/>
                </a:lnTo>
                <a:lnTo>
                  <a:pt x="5883" y="166"/>
                </a:lnTo>
                <a:lnTo>
                  <a:pt x="5876" y="199"/>
                </a:lnTo>
                <a:lnTo>
                  <a:pt x="5870" y="237"/>
                </a:lnTo>
                <a:lnTo>
                  <a:pt x="4679" y="437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8"/>
          <p:cNvSpPr>
            <a:spLocks/>
          </p:cNvSpPr>
          <p:nvPr/>
        </p:nvSpPr>
        <p:spPr bwMode="auto">
          <a:xfrm>
            <a:off x="3153167" y="2372027"/>
            <a:ext cx="552410" cy="924686"/>
          </a:xfrm>
          <a:custGeom>
            <a:avLst/>
            <a:gdLst>
              <a:gd name="T0" fmla="*/ 2731 w 2760"/>
              <a:gd name="T1" fmla="*/ 3593 h 4620"/>
              <a:gd name="T2" fmla="*/ 2629 w 2760"/>
              <a:gd name="T3" fmla="*/ 3887 h 4620"/>
              <a:gd name="T4" fmla="*/ 2464 w 2760"/>
              <a:gd name="T5" fmla="*/ 4135 h 4620"/>
              <a:gd name="T6" fmla="*/ 2242 w 2760"/>
              <a:gd name="T7" fmla="*/ 4336 h 4620"/>
              <a:gd name="T8" fmla="*/ 1971 w 2760"/>
              <a:gd name="T9" fmla="*/ 4484 h 4620"/>
              <a:gd name="T10" fmla="*/ 1657 w 2760"/>
              <a:gd name="T11" fmla="*/ 4578 h 4620"/>
              <a:gd name="T12" fmla="*/ 1315 w 2760"/>
              <a:gd name="T13" fmla="*/ 4619 h 4620"/>
              <a:gd name="T14" fmla="*/ 865 w 2760"/>
              <a:gd name="T15" fmla="*/ 4590 h 4620"/>
              <a:gd name="T16" fmla="*/ 473 w 2760"/>
              <a:gd name="T17" fmla="*/ 4487 h 4620"/>
              <a:gd name="T18" fmla="*/ 172 w 2760"/>
              <a:gd name="T19" fmla="*/ 4345 h 4620"/>
              <a:gd name="T20" fmla="*/ 43 w 2760"/>
              <a:gd name="T21" fmla="*/ 4225 h 4620"/>
              <a:gd name="T22" fmla="*/ 2 w 2760"/>
              <a:gd name="T23" fmla="*/ 4070 h 4620"/>
              <a:gd name="T24" fmla="*/ 16 w 2760"/>
              <a:gd name="T25" fmla="*/ 3823 h 4620"/>
              <a:gd name="T26" fmla="*/ 73 w 2760"/>
              <a:gd name="T27" fmla="*/ 3739 h 4620"/>
              <a:gd name="T28" fmla="*/ 207 w 2760"/>
              <a:gd name="T29" fmla="*/ 3765 h 4620"/>
              <a:gd name="T30" fmla="*/ 441 w 2760"/>
              <a:gd name="T31" fmla="*/ 3902 h 4620"/>
              <a:gd name="T32" fmla="*/ 809 w 2760"/>
              <a:gd name="T33" fmla="*/ 4049 h 4620"/>
              <a:gd name="T34" fmla="*/ 1078 w 2760"/>
              <a:gd name="T35" fmla="*/ 4102 h 4620"/>
              <a:gd name="T36" fmla="*/ 1535 w 2760"/>
              <a:gd name="T37" fmla="*/ 4080 h 4620"/>
              <a:gd name="T38" fmla="*/ 1866 w 2760"/>
              <a:gd name="T39" fmla="*/ 3934 h 4620"/>
              <a:gd name="T40" fmla="*/ 1999 w 2760"/>
              <a:gd name="T41" fmla="*/ 3804 h 4620"/>
              <a:gd name="T42" fmla="*/ 2095 w 2760"/>
              <a:gd name="T43" fmla="*/ 3623 h 4620"/>
              <a:gd name="T44" fmla="*/ 2137 w 2760"/>
              <a:gd name="T45" fmla="*/ 3361 h 4620"/>
              <a:gd name="T46" fmla="*/ 2109 w 2760"/>
              <a:gd name="T47" fmla="*/ 3164 h 4620"/>
              <a:gd name="T48" fmla="*/ 2003 w 2760"/>
              <a:gd name="T49" fmla="*/ 2970 h 4620"/>
              <a:gd name="T50" fmla="*/ 1709 w 2760"/>
              <a:gd name="T51" fmla="*/ 2723 h 4620"/>
              <a:gd name="T52" fmla="*/ 1313 w 2760"/>
              <a:gd name="T53" fmla="*/ 2524 h 4620"/>
              <a:gd name="T54" fmla="*/ 890 w 2760"/>
              <a:gd name="T55" fmla="*/ 2318 h 4620"/>
              <a:gd name="T56" fmla="*/ 503 w 2760"/>
              <a:gd name="T57" fmla="*/ 2058 h 4620"/>
              <a:gd name="T58" fmla="*/ 316 w 2760"/>
              <a:gd name="T59" fmla="*/ 1850 h 4620"/>
              <a:gd name="T60" fmla="*/ 199 w 2760"/>
              <a:gd name="T61" fmla="*/ 1646 h 4620"/>
              <a:gd name="T62" fmla="*/ 128 w 2760"/>
              <a:gd name="T63" fmla="*/ 1400 h 4620"/>
              <a:gd name="T64" fmla="*/ 112 w 2760"/>
              <a:gd name="T65" fmla="*/ 1106 h 4620"/>
              <a:gd name="T66" fmla="*/ 160 w 2760"/>
              <a:gd name="T67" fmla="*/ 818 h 4620"/>
              <a:gd name="T68" fmla="*/ 270 w 2760"/>
              <a:gd name="T69" fmla="*/ 570 h 4620"/>
              <a:gd name="T70" fmla="*/ 433 w 2760"/>
              <a:gd name="T71" fmla="*/ 364 h 4620"/>
              <a:gd name="T72" fmla="*/ 643 w 2760"/>
              <a:gd name="T73" fmla="*/ 203 h 4620"/>
              <a:gd name="T74" fmla="*/ 900 w 2760"/>
              <a:gd name="T75" fmla="*/ 88 h 4620"/>
              <a:gd name="T76" fmla="*/ 1193 w 2760"/>
              <a:gd name="T77" fmla="*/ 19 h 4620"/>
              <a:gd name="T78" fmla="*/ 1511 w 2760"/>
              <a:gd name="T79" fmla="*/ 0 h 4620"/>
              <a:gd name="T80" fmla="*/ 1849 w 2760"/>
              <a:gd name="T81" fmla="*/ 41 h 4620"/>
              <a:gd name="T82" fmla="*/ 2154 w 2760"/>
              <a:gd name="T83" fmla="*/ 130 h 4620"/>
              <a:gd name="T84" fmla="*/ 2382 w 2760"/>
              <a:gd name="T85" fmla="*/ 242 h 4620"/>
              <a:gd name="T86" fmla="*/ 2482 w 2760"/>
              <a:gd name="T87" fmla="*/ 342 h 4620"/>
              <a:gd name="T88" fmla="*/ 2506 w 2760"/>
              <a:gd name="T89" fmla="*/ 499 h 4620"/>
              <a:gd name="T90" fmla="*/ 2491 w 2760"/>
              <a:gd name="T91" fmla="*/ 733 h 4620"/>
              <a:gd name="T92" fmla="*/ 2413 w 2760"/>
              <a:gd name="T93" fmla="*/ 816 h 4620"/>
              <a:gd name="T94" fmla="*/ 2273 w 2760"/>
              <a:gd name="T95" fmla="*/ 755 h 4620"/>
              <a:gd name="T96" fmla="*/ 2033 w 2760"/>
              <a:gd name="T97" fmla="*/ 627 h 4620"/>
              <a:gd name="T98" fmla="*/ 1689 w 2760"/>
              <a:gd name="T99" fmla="*/ 516 h 4620"/>
              <a:gd name="T100" fmla="*/ 1278 w 2760"/>
              <a:gd name="T101" fmla="*/ 509 h 4620"/>
              <a:gd name="T102" fmla="*/ 973 w 2760"/>
              <a:gd name="T103" fmla="*/ 623 h 4620"/>
              <a:gd name="T104" fmla="*/ 789 w 2760"/>
              <a:gd name="T105" fmla="*/ 822 h 4620"/>
              <a:gd name="T106" fmla="*/ 718 w 2760"/>
              <a:gd name="T107" fmla="*/ 1089 h 4620"/>
              <a:gd name="T108" fmla="*/ 740 w 2760"/>
              <a:gd name="T109" fmla="*/ 1294 h 4620"/>
              <a:gd name="T110" fmla="*/ 828 w 2760"/>
              <a:gd name="T111" fmla="*/ 1476 h 4620"/>
              <a:gd name="T112" fmla="*/ 1110 w 2760"/>
              <a:gd name="T113" fmla="*/ 1733 h 4620"/>
              <a:gd name="T114" fmla="*/ 1502 w 2760"/>
              <a:gd name="T115" fmla="*/ 1938 h 4620"/>
              <a:gd name="T116" fmla="*/ 1926 w 2760"/>
              <a:gd name="T117" fmla="*/ 2141 h 4620"/>
              <a:gd name="T118" fmla="*/ 2326 w 2760"/>
              <a:gd name="T119" fmla="*/ 2390 h 4620"/>
              <a:gd name="T120" fmla="*/ 2540 w 2760"/>
              <a:gd name="T121" fmla="*/ 2607 h 4620"/>
              <a:gd name="T122" fmla="*/ 2661 w 2760"/>
              <a:gd name="T123" fmla="*/ 2807 h 4620"/>
              <a:gd name="T124" fmla="*/ 2739 w 2760"/>
              <a:gd name="T125" fmla="*/ 3046 h 46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60" h="4620">
                <a:moveTo>
                  <a:pt x="2760" y="3296"/>
                </a:moveTo>
                <a:lnTo>
                  <a:pt x="2760" y="3334"/>
                </a:lnTo>
                <a:lnTo>
                  <a:pt x="2759" y="3373"/>
                </a:lnTo>
                <a:lnTo>
                  <a:pt x="2757" y="3411"/>
                </a:lnTo>
                <a:lnTo>
                  <a:pt x="2754" y="3449"/>
                </a:lnTo>
                <a:lnTo>
                  <a:pt x="2749" y="3485"/>
                </a:lnTo>
                <a:lnTo>
                  <a:pt x="2744" y="3521"/>
                </a:lnTo>
                <a:lnTo>
                  <a:pt x="2739" y="3558"/>
                </a:lnTo>
                <a:lnTo>
                  <a:pt x="2731" y="3593"/>
                </a:lnTo>
                <a:lnTo>
                  <a:pt x="2724" y="3627"/>
                </a:lnTo>
                <a:lnTo>
                  <a:pt x="2715" y="3662"/>
                </a:lnTo>
                <a:lnTo>
                  <a:pt x="2705" y="3696"/>
                </a:lnTo>
                <a:lnTo>
                  <a:pt x="2695" y="3729"/>
                </a:lnTo>
                <a:lnTo>
                  <a:pt x="2684" y="3761"/>
                </a:lnTo>
                <a:lnTo>
                  <a:pt x="2671" y="3793"/>
                </a:lnTo>
                <a:lnTo>
                  <a:pt x="2658" y="3826"/>
                </a:lnTo>
                <a:lnTo>
                  <a:pt x="2644" y="3857"/>
                </a:lnTo>
                <a:lnTo>
                  <a:pt x="2629" y="3887"/>
                </a:lnTo>
                <a:lnTo>
                  <a:pt x="2613" y="3917"/>
                </a:lnTo>
                <a:lnTo>
                  <a:pt x="2597" y="3947"/>
                </a:lnTo>
                <a:lnTo>
                  <a:pt x="2580" y="3975"/>
                </a:lnTo>
                <a:lnTo>
                  <a:pt x="2563" y="4003"/>
                </a:lnTo>
                <a:lnTo>
                  <a:pt x="2545" y="4031"/>
                </a:lnTo>
                <a:lnTo>
                  <a:pt x="2526" y="4058"/>
                </a:lnTo>
                <a:lnTo>
                  <a:pt x="2505" y="4084"/>
                </a:lnTo>
                <a:lnTo>
                  <a:pt x="2485" y="4110"/>
                </a:lnTo>
                <a:lnTo>
                  <a:pt x="2464" y="4135"/>
                </a:lnTo>
                <a:lnTo>
                  <a:pt x="2442" y="4160"/>
                </a:lnTo>
                <a:lnTo>
                  <a:pt x="2420" y="4184"/>
                </a:lnTo>
                <a:lnTo>
                  <a:pt x="2396" y="4208"/>
                </a:lnTo>
                <a:lnTo>
                  <a:pt x="2371" y="4230"/>
                </a:lnTo>
                <a:lnTo>
                  <a:pt x="2347" y="4253"/>
                </a:lnTo>
                <a:lnTo>
                  <a:pt x="2321" y="4274"/>
                </a:lnTo>
                <a:lnTo>
                  <a:pt x="2295" y="4296"/>
                </a:lnTo>
                <a:lnTo>
                  <a:pt x="2269" y="4316"/>
                </a:lnTo>
                <a:lnTo>
                  <a:pt x="2242" y="4336"/>
                </a:lnTo>
                <a:lnTo>
                  <a:pt x="2214" y="4356"/>
                </a:lnTo>
                <a:lnTo>
                  <a:pt x="2185" y="4374"/>
                </a:lnTo>
                <a:lnTo>
                  <a:pt x="2156" y="4392"/>
                </a:lnTo>
                <a:lnTo>
                  <a:pt x="2127" y="4409"/>
                </a:lnTo>
                <a:lnTo>
                  <a:pt x="2097" y="4425"/>
                </a:lnTo>
                <a:lnTo>
                  <a:pt x="2066" y="4441"/>
                </a:lnTo>
                <a:lnTo>
                  <a:pt x="2035" y="4456"/>
                </a:lnTo>
                <a:lnTo>
                  <a:pt x="2004" y="4470"/>
                </a:lnTo>
                <a:lnTo>
                  <a:pt x="1971" y="4484"/>
                </a:lnTo>
                <a:lnTo>
                  <a:pt x="1939" y="4497"/>
                </a:lnTo>
                <a:lnTo>
                  <a:pt x="1905" y="4510"/>
                </a:lnTo>
                <a:lnTo>
                  <a:pt x="1870" y="4521"/>
                </a:lnTo>
                <a:lnTo>
                  <a:pt x="1836" y="4532"/>
                </a:lnTo>
                <a:lnTo>
                  <a:pt x="1801" y="4543"/>
                </a:lnTo>
                <a:lnTo>
                  <a:pt x="1765" y="4553"/>
                </a:lnTo>
                <a:lnTo>
                  <a:pt x="1730" y="4562"/>
                </a:lnTo>
                <a:lnTo>
                  <a:pt x="1694" y="4571"/>
                </a:lnTo>
                <a:lnTo>
                  <a:pt x="1657" y="4578"/>
                </a:lnTo>
                <a:lnTo>
                  <a:pt x="1621" y="4586"/>
                </a:lnTo>
                <a:lnTo>
                  <a:pt x="1583" y="4592"/>
                </a:lnTo>
                <a:lnTo>
                  <a:pt x="1546" y="4598"/>
                </a:lnTo>
                <a:lnTo>
                  <a:pt x="1509" y="4603"/>
                </a:lnTo>
                <a:lnTo>
                  <a:pt x="1471" y="4607"/>
                </a:lnTo>
                <a:lnTo>
                  <a:pt x="1432" y="4611"/>
                </a:lnTo>
                <a:lnTo>
                  <a:pt x="1393" y="4615"/>
                </a:lnTo>
                <a:lnTo>
                  <a:pt x="1354" y="4617"/>
                </a:lnTo>
                <a:lnTo>
                  <a:pt x="1315" y="4619"/>
                </a:lnTo>
                <a:lnTo>
                  <a:pt x="1275" y="4620"/>
                </a:lnTo>
                <a:lnTo>
                  <a:pt x="1234" y="4620"/>
                </a:lnTo>
                <a:lnTo>
                  <a:pt x="1179" y="4619"/>
                </a:lnTo>
                <a:lnTo>
                  <a:pt x="1124" y="4618"/>
                </a:lnTo>
                <a:lnTo>
                  <a:pt x="1070" y="4615"/>
                </a:lnTo>
                <a:lnTo>
                  <a:pt x="1017" y="4610"/>
                </a:lnTo>
                <a:lnTo>
                  <a:pt x="966" y="4605"/>
                </a:lnTo>
                <a:lnTo>
                  <a:pt x="915" y="4598"/>
                </a:lnTo>
                <a:lnTo>
                  <a:pt x="865" y="4590"/>
                </a:lnTo>
                <a:lnTo>
                  <a:pt x="817" y="4581"/>
                </a:lnTo>
                <a:lnTo>
                  <a:pt x="770" y="4572"/>
                </a:lnTo>
                <a:lnTo>
                  <a:pt x="724" y="4561"/>
                </a:lnTo>
                <a:lnTo>
                  <a:pt x="679" y="4550"/>
                </a:lnTo>
                <a:lnTo>
                  <a:pt x="635" y="4539"/>
                </a:lnTo>
                <a:lnTo>
                  <a:pt x="593" y="4527"/>
                </a:lnTo>
                <a:lnTo>
                  <a:pt x="551" y="4514"/>
                </a:lnTo>
                <a:lnTo>
                  <a:pt x="512" y="4501"/>
                </a:lnTo>
                <a:lnTo>
                  <a:pt x="473" y="4487"/>
                </a:lnTo>
                <a:lnTo>
                  <a:pt x="437" y="4473"/>
                </a:lnTo>
                <a:lnTo>
                  <a:pt x="401" y="4459"/>
                </a:lnTo>
                <a:lnTo>
                  <a:pt x="367" y="4445"/>
                </a:lnTo>
                <a:lnTo>
                  <a:pt x="335" y="4432"/>
                </a:lnTo>
                <a:lnTo>
                  <a:pt x="304" y="4418"/>
                </a:lnTo>
                <a:lnTo>
                  <a:pt x="274" y="4403"/>
                </a:lnTo>
                <a:lnTo>
                  <a:pt x="246" y="4389"/>
                </a:lnTo>
                <a:lnTo>
                  <a:pt x="221" y="4374"/>
                </a:lnTo>
                <a:lnTo>
                  <a:pt x="172" y="4345"/>
                </a:lnTo>
                <a:lnTo>
                  <a:pt x="133" y="4319"/>
                </a:lnTo>
                <a:lnTo>
                  <a:pt x="117" y="4306"/>
                </a:lnTo>
                <a:lnTo>
                  <a:pt x="102" y="4295"/>
                </a:lnTo>
                <a:lnTo>
                  <a:pt x="89" y="4284"/>
                </a:lnTo>
                <a:lnTo>
                  <a:pt x="78" y="4273"/>
                </a:lnTo>
                <a:lnTo>
                  <a:pt x="69" y="4262"/>
                </a:lnTo>
                <a:lnTo>
                  <a:pt x="59" y="4251"/>
                </a:lnTo>
                <a:lnTo>
                  <a:pt x="51" y="4238"/>
                </a:lnTo>
                <a:lnTo>
                  <a:pt x="43" y="4225"/>
                </a:lnTo>
                <a:lnTo>
                  <a:pt x="36" y="4212"/>
                </a:lnTo>
                <a:lnTo>
                  <a:pt x="30" y="4197"/>
                </a:lnTo>
                <a:lnTo>
                  <a:pt x="25" y="4182"/>
                </a:lnTo>
                <a:lnTo>
                  <a:pt x="19" y="4167"/>
                </a:lnTo>
                <a:lnTo>
                  <a:pt x="14" y="4150"/>
                </a:lnTo>
                <a:lnTo>
                  <a:pt x="11" y="4132"/>
                </a:lnTo>
                <a:lnTo>
                  <a:pt x="7" y="4112"/>
                </a:lnTo>
                <a:lnTo>
                  <a:pt x="4" y="4092"/>
                </a:lnTo>
                <a:lnTo>
                  <a:pt x="2" y="4070"/>
                </a:lnTo>
                <a:lnTo>
                  <a:pt x="1" y="4046"/>
                </a:lnTo>
                <a:lnTo>
                  <a:pt x="0" y="4021"/>
                </a:lnTo>
                <a:lnTo>
                  <a:pt x="0" y="3995"/>
                </a:lnTo>
                <a:lnTo>
                  <a:pt x="0" y="3958"/>
                </a:lnTo>
                <a:lnTo>
                  <a:pt x="2" y="3925"/>
                </a:lnTo>
                <a:lnTo>
                  <a:pt x="4" y="3895"/>
                </a:lnTo>
                <a:lnTo>
                  <a:pt x="7" y="3868"/>
                </a:lnTo>
                <a:lnTo>
                  <a:pt x="11" y="3845"/>
                </a:lnTo>
                <a:lnTo>
                  <a:pt x="16" y="3823"/>
                </a:lnTo>
                <a:lnTo>
                  <a:pt x="21" y="3804"/>
                </a:lnTo>
                <a:lnTo>
                  <a:pt x="27" y="3788"/>
                </a:lnTo>
                <a:lnTo>
                  <a:pt x="34" y="3773"/>
                </a:lnTo>
                <a:lnTo>
                  <a:pt x="43" y="3761"/>
                </a:lnTo>
                <a:lnTo>
                  <a:pt x="48" y="3756"/>
                </a:lnTo>
                <a:lnTo>
                  <a:pt x="52" y="3752"/>
                </a:lnTo>
                <a:lnTo>
                  <a:pt x="58" y="3747"/>
                </a:lnTo>
                <a:lnTo>
                  <a:pt x="63" y="3744"/>
                </a:lnTo>
                <a:lnTo>
                  <a:pt x="73" y="3739"/>
                </a:lnTo>
                <a:lnTo>
                  <a:pt x="85" y="3735"/>
                </a:lnTo>
                <a:lnTo>
                  <a:pt x="97" y="3732"/>
                </a:lnTo>
                <a:lnTo>
                  <a:pt x="111" y="3732"/>
                </a:lnTo>
                <a:lnTo>
                  <a:pt x="124" y="3733"/>
                </a:lnTo>
                <a:lnTo>
                  <a:pt x="138" y="3736"/>
                </a:lnTo>
                <a:lnTo>
                  <a:pt x="153" y="3740"/>
                </a:lnTo>
                <a:lnTo>
                  <a:pt x="169" y="3746"/>
                </a:lnTo>
                <a:lnTo>
                  <a:pt x="187" y="3755"/>
                </a:lnTo>
                <a:lnTo>
                  <a:pt x="207" y="3765"/>
                </a:lnTo>
                <a:lnTo>
                  <a:pt x="226" y="3776"/>
                </a:lnTo>
                <a:lnTo>
                  <a:pt x="247" y="3790"/>
                </a:lnTo>
                <a:lnTo>
                  <a:pt x="271" y="3805"/>
                </a:lnTo>
                <a:lnTo>
                  <a:pt x="294" y="3821"/>
                </a:lnTo>
                <a:lnTo>
                  <a:pt x="321" y="3836"/>
                </a:lnTo>
                <a:lnTo>
                  <a:pt x="349" y="3852"/>
                </a:lnTo>
                <a:lnTo>
                  <a:pt x="378" y="3868"/>
                </a:lnTo>
                <a:lnTo>
                  <a:pt x="409" y="3886"/>
                </a:lnTo>
                <a:lnTo>
                  <a:pt x="441" y="3902"/>
                </a:lnTo>
                <a:lnTo>
                  <a:pt x="474" y="3920"/>
                </a:lnTo>
                <a:lnTo>
                  <a:pt x="511" y="3937"/>
                </a:lnTo>
                <a:lnTo>
                  <a:pt x="548" y="3953"/>
                </a:lnTo>
                <a:lnTo>
                  <a:pt x="588" y="3970"/>
                </a:lnTo>
                <a:lnTo>
                  <a:pt x="628" y="3986"/>
                </a:lnTo>
                <a:lnTo>
                  <a:pt x="671" y="4002"/>
                </a:lnTo>
                <a:lnTo>
                  <a:pt x="715" y="4018"/>
                </a:lnTo>
                <a:lnTo>
                  <a:pt x="762" y="4034"/>
                </a:lnTo>
                <a:lnTo>
                  <a:pt x="809" y="4049"/>
                </a:lnTo>
                <a:lnTo>
                  <a:pt x="834" y="4057"/>
                </a:lnTo>
                <a:lnTo>
                  <a:pt x="860" y="4063"/>
                </a:lnTo>
                <a:lnTo>
                  <a:pt x="885" y="4070"/>
                </a:lnTo>
                <a:lnTo>
                  <a:pt x="911" y="4076"/>
                </a:lnTo>
                <a:lnTo>
                  <a:pt x="938" y="4081"/>
                </a:lnTo>
                <a:lnTo>
                  <a:pt x="965" y="4086"/>
                </a:lnTo>
                <a:lnTo>
                  <a:pt x="992" y="4091"/>
                </a:lnTo>
                <a:lnTo>
                  <a:pt x="1020" y="4094"/>
                </a:lnTo>
                <a:lnTo>
                  <a:pt x="1078" y="4102"/>
                </a:lnTo>
                <a:lnTo>
                  <a:pt x="1138" y="4106"/>
                </a:lnTo>
                <a:lnTo>
                  <a:pt x="1199" y="4109"/>
                </a:lnTo>
                <a:lnTo>
                  <a:pt x="1262" y="4110"/>
                </a:lnTo>
                <a:lnTo>
                  <a:pt x="1310" y="4109"/>
                </a:lnTo>
                <a:lnTo>
                  <a:pt x="1358" y="4106"/>
                </a:lnTo>
                <a:lnTo>
                  <a:pt x="1404" y="4103"/>
                </a:lnTo>
                <a:lnTo>
                  <a:pt x="1449" y="4096"/>
                </a:lnTo>
                <a:lnTo>
                  <a:pt x="1492" y="4089"/>
                </a:lnTo>
                <a:lnTo>
                  <a:pt x="1535" y="4080"/>
                </a:lnTo>
                <a:lnTo>
                  <a:pt x="1577" y="4070"/>
                </a:lnTo>
                <a:lnTo>
                  <a:pt x="1618" y="4058"/>
                </a:lnTo>
                <a:lnTo>
                  <a:pt x="1657" y="4044"/>
                </a:lnTo>
                <a:lnTo>
                  <a:pt x="1696" y="4029"/>
                </a:lnTo>
                <a:lnTo>
                  <a:pt x="1733" y="4013"/>
                </a:lnTo>
                <a:lnTo>
                  <a:pt x="1769" y="3995"/>
                </a:lnTo>
                <a:lnTo>
                  <a:pt x="1802" y="3975"/>
                </a:lnTo>
                <a:lnTo>
                  <a:pt x="1835" y="3955"/>
                </a:lnTo>
                <a:lnTo>
                  <a:pt x="1866" y="3934"/>
                </a:lnTo>
                <a:lnTo>
                  <a:pt x="1895" y="3911"/>
                </a:lnTo>
                <a:lnTo>
                  <a:pt x="1910" y="3898"/>
                </a:lnTo>
                <a:lnTo>
                  <a:pt x="1924" y="3887"/>
                </a:lnTo>
                <a:lnTo>
                  <a:pt x="1937" y="3874"/>
                </a:lnTo>
                <a:lnTo>
                  <a:pt x="1951" y="3861"/>
                </a:lnTo>
                <a:lnTo>
                  <a:pt x="1962" y="3847"/>
                </a:lnTo>
                <a:lnTo>
                  <a:pt x="1975" y="3833"/>
                </a:lnTo>
                <a:lnTo>
                  <a:pt x="1987" y="3819"/>
                </a:lnTo>
                <a:lnTo>
                  <a:pt x="1999" y="3804"/>
                </a:lnTo>
                <a:lnTo>
                  <a:pt x="2010" y="3789"/>
                </a:lnTo>
                <a:lnTo>
                  <a:pt x="2020" y="3774"/>
                </a:lnTo>
                <a:lnTo>
                  <a:pt x="2030" y="3759"/>
                </a:lnTo>
                <a:lnTo>
                  <a:pt x="2040" y="3743"/>
                </a:lnTo>
                <a:lnTo>
                  <a:pt x="2058" y="3711"/>
                </a:lnTo>
                <a:lnTo>
                  <a:pt x="2074" y="3677"/>
                </a:lnTo>
                <a:lnTo>
                  <a:pt x="2081" y="3660"/>
                </a:lnTo>
                <a:lnTo>
                  <a:pt x="2089" y="3641"/>
                </a:lnTo>
                <a:lnTo>
                  <a:pt x="2095" y="3623"/>
                </a:lnTo>
                <a:lnTo>
                  <a:pt x="2102" y="3605"/>
                </a:lnTo>
                <a:lnTo>
                  <a:pt x="2107" y="3586"/>
                </a:lnTo>
                <a:lnTo>
                  <a:pt x="2112" y="3568"/>
                </a:lnTo>
                <a:lnTo>
                  <a:pt x="2117" y="3548"/>
                </a:lnTo>
                <a:lnTo>
                  <a:pt x="2121" y="3528"/>
                </a:lnTo>
                <a:lnTo>
                  <a:pt x="2127" y="3488"/>
                </a:lnTo>
                <a:lnTo>
                  <a:pt x="2133" y="3447"/>
                </a:lnTo>
                <a:lnTo>
                  <a:pt x="2136" y="3405"/>
                </a:lnTo>
                <a:lnTo>
                  <a:pt x="2137" y="3361"/>
                </a:lnTo>
                <a:lnTo>
                  <a:pt x="2136" y="3337"/>
                </a:lnTo>
                <a:lnTo>
                  <a:pt x="2135" y="3314"/>
                </a:lnTo>
                <a:lnTo>
                  <a:pt x="2134" y="3291"/>
                </a:lnTo>
                <a:lnTo>
                  <a:pt x="2132" y="3269"/>
                </a:lnTo>
                <a:lnTo>
                  <a:pt x="2128" y="3247"/>
                </a:lnTo>
                <a:lnTo>
                  <a:pt x="2124" y="3226"/>
                </a:lnTo>
                <a:lnTo>
                  <a:pt x="2120" y="3205"/>
                </a:lnTo>
                <a:lnTo>
                  <a:pt x="2114" y="3184"/>
                </a:lnTo>
                <a:lnTo>
                  <a:pt x="2109" y="3164"/>
                </a:lnTo>
                <a:lnTo>
                  <a:pt x="2103" y="3145"/>
                </a:lnTo>
                <a:lnTo>
                  <a:pt x="2095" y="3125"/>
                </a:lnTo>
                <a:lnTo>
                  <a:pt x="2088" y="3106"/>
                </a:lnTo>
                <a:lnTo>
                  <a:pt x="2079" y="3088"/>
                </a:lnTo>
                <a:lnTo>
                  <a:pt x="2070" y="3070"/>
                </a:lnTo>
                <a:lnTo>
                  <a:pt x="2060" y="3053"/>
                </a:lnTo>
                <a:lnTo>
                  <a:pt x="2049" y="3035"/>
                </a:lnTo>
                <a:lnTo>
                  <a:pt x="2027" y="3002"/>
                </a:lnTo>
                <a:lnTo>
                  <a:pt x="2003" y="2970"/>
                </a:lnTo>
                <a:lnTo>
                  <a:pt x="1976" y="2938"/>
                </a:lnTo>
                <a:lnTo>
                  <a:pt x="1949" y="2908"/>
                </a:lnTo>
                <a:lnTo>
                  <a:pt x="1920" y="2879"/>
                </a:lnTo>
                <a:lnTo>
                  <a:pt x="1889" y="2850"/>
                </a:lnTo>
                <a:lnTo>
                  <a:pt x="1855" y="2823"/>
                </a:lnTo>
                <a:lnTo>
                  <a:pt x="1821" y="2797"/>
                </a:lnTo>
                <a:lnTo>
                  <a:pt x="1785" y="2772"/>
                </a:lnTo>
                <a:lnTo>
                  <a:pt x="1747" y="2747"/>
                </a:lnTo>
                <a:lnTo>
                  <a:pt x="1709" y="2723"/>
                </a:lnTo>
                <a:lnTo>
                  <a:pt x="1669" y="2699"/>
                </a:lnTo>
                <a:lnTo>
                  <a:pt x="1627" y="2676"/>
                </a:lnTo>
                <a:lnTo>
                  <a:pt x="1586" y="2653"/>
                </a:lnTo>
                <a:lnTo>
                  <a:pt x="1542" y="2632"/>
                </a:lnTo>
                <a:lnTo>
                  <a:pt x="1497" y="2610"/>
                </a:lnTo>
                <a:lnTo>
                  <a:pt x="1451" y="2589"/>
                </a:lnTo>
                <a:lnTo>
                  <a:pt x="1405" y="2567"/>
                </a:lnTo>
                <a:lnTo>
                  <a:pt x="1359" y="2546"/>
                </a:lnTo>
                <a:lnTo>
                  <a:pt x="1313" y="2524"/>
                </a:lnTo>
                <a:lnTo>
                  <a:pt x="1265" y="2502"/>
                </a:lnTo>
                <a:lnTo>
                  <a:pt x="1218" y="2480"/>
                </a:lnTo>
                <a:lnTo>
                  <a:pt x="1171" y="2458"/>
                </a:lnTo>
                <a:lnTo>
                  <a:pt x="1123" y="2436"/>
                </a:lnTo>
                <a:lnTo>
                  <a:pt x="1076" y="2414"/>
                </a:lnTo>
                <a:lnTo>
                  <a:pt x="1029" y="2391"/>
                </a:lnTo>
                <a:lnTo>
                  <a:pt x="982" y="2367"/>
                </a:lnTo>
                <a:lnTo>
                  <a:pt x="936" y="2344"/>
                </a:lnTo>
                <a:lnTo>
                  <a:pt x="890" y="2318"/>
                </a:lnTo>
                <a:lnTo>
                  <a:pt x="844" y="2293"/>
                </a:lnTo>
                <a:lnTo>
                  <a:pt x="798" y="2267"/>
                </a:lnTo>
                <a:lnTo>
                  <a:pt x="753" y="2241"/>
                </a:lnTo>
                <a:lnTo>
                  <a:pt x="708" y="2213"/>
                </a:lnTo>
                <a:lnTo>
                  <a:pt x="665" y="2184"/>
                </a:lnTo>
                <a:lnTo>
                  <a:pt x="622" y="2154"/>
                </a:lnTo>
                <a:lnTo>
                  <a:pt x="581" y="2123"/>
                </a:lnTo>
                <a:lnTo>
                  <a:pt x="542" y="2091"/>
                </a:lnTo>
                <a:lnTo>
                  <a:pt x="503" y="2058"/>
                </a:lnTo>
                <a:lnTo>
                  <a:pt x="466" y="2024"/>
                </a:lnTo>
                <a:lnTo>
                  <a:pt x="429" y="1987"/>
                </a:lnTo>
                <a:lnTo>
                  <a:pt x="412" y="1969"/>
                </a:lnTo>
                <a:lnTo>
                  <a:pt x="395" y="1951"/>
                </a:lnTo>
                <a:lnTo>
                  <a:pt x="378" y="1932"/>
                </a:lnTo>
                <a:lnTo>
                  <a:pt x="362" y="1911"/>
                </a:lnTo>
                <a:lnTo>
                  <a:pt x="346" y="1892"/>
                </a:lnTo>
                <a:lnTo>
                  <a:pt x="331" y="1872"/>
                </a:lnTo>
                <a:lnTo>
                  <a:pt x="316" y="1850"/>
                </a:lnTo>
                <a:lnTo>
                  <a:pt x="301" y="1830"/>
                </a:lnTo>
                <a:lnTo>
                  <a:pt x="287" y="1807"/>
                </a:lnTo>
                <a:lnTo>
                  <a:pt x="273" y="1786"/>
                </a:lnTo>
                <a:lnTo>
                  <a:pt x="259" y="1763"/>
                </a:lnTo>
                <a:lnTo>
                  <a:pt x="246" y="1741"/>
                </a:lnTo>
                <a:lnTo>
                  <a:pt x="234" y="1717"/>
                </a:lnTo>
                <a:lnTo>
                  <a:pt x="222" y="1694"/>
                </a:lnTo>
                <a:lnTo>
                  <a:pt x="210" y="1670"/>
                </a:lnTo>
                <a:lnTo>
                  <a:pt x="199" y="1646"/>
                </a:lnTo>
                <a:lnTo>
                  <a:pt x="188" y="1621"/>
                </a:lnTo>
                <a:lnTo>
                  <a:pt x="179" y="1595"/>
                </a:lnTo>
                <a:lnTo>
                  <a:pt x="169" y="1570"/>
                </a:lnTo>
                <a:lnTo>
                  <a:pt x="161" y="1543"/>
                </a:lnTo>
                <a:lnTo>
                  <a:pt x="153" y="1516"/>
                </a:lnTo>
                <a:lnTo>
                  <a:pt x="146" y="1488"/>
                </a:lnTo>
                <a:lnTo>
                  <a:pt x="139" y="1459"/>
                </a:lnTo>
                <a:lnTo>
                  <a:pt x="134" y="1430"/>
                </a:lnTo>
                <a:lnTo>
                  <a:pt x="128" y="1400"/>
                </a:lnTo>
                <a:lnTo>
                  <a:pt x="124" y="1370"/>
                </a:lnTo>
                <a:lnTo>
                  <a:pt x="120" y="1339"/>
                </a:lnTo>
                <a:lnTo>
                  <a:pt x="117" y="1308"/>
                </a:lnTo>
                <a:lnTo>
                  <a:pt x="115" y="1276"/>
                </a:lnTo>
                <a:lnTo>
                  <a:pt x="112" y="1243"/>
                </a:lnTo>
                <a:lnTo>
                  <a:pt x="111" y="1210"/>
                </a:lnTo>
                <a:lnTo>
                  <a:pt x="111" y="1176"/>
                </a:lnTo>
                <a:lnTo>
                  <a:pt x="111" y="1140"/>
                </a:lnTo>
                <a:lnTo>
                  <a:pt x="112" y="1106"/>
                </a:lnTo>
                <a:lnTo>
                  <a:pt x="115" y="1073"/>
                </a:lnTo>
                <a:lnTo>
                  <a:pt x="118" y="1039"/>
                </a:lnTo>
                <a:lnTo>
                  <a:pt x="121" y="1006"/>
                </a:lnTo>
                <a:lnTo>
                  <a:pt x="125" y="973"/>
                </a:lnTo>
                <a:lnTo>
                  <a:pt x="131" y="941"/>
                </a:lnTo>
                <a:lnTo>
                  <a:pt x="137" y="910"/>
                </a:lnTo>
                <a:lnTo>
                  <a:pt x="143" y="879"/>
                </a:lnTo>
                <a:lnTo>
                  <a:pt x="151" y="848"/>
                </a:lnTo>
                <a:lnTo>
                  <a:pt x="160" y="818"/>
                </a:lnTo>
                <a:lnTo>
                  <a:pt x="169" y="789"/>
                </a:lnTo>
                <a:lnTo>
                  <a:pt x="179" y="759"/>
                </a:lnTo>
                <a:lnTo>
                  <a:pt x="190" y="730"/>
                </a:lnTo>
                <a:lnTo>
                  <a:pt x="201" y="702"/>
                </a:lnTo>
                <a:lnTo>
                  <a:pt x="213" y="675"/>
                </a:lnTo>
                <a:lnTo>
                  <a:pt x="226" y="648"/>
                </a:lnTo>
                <a:lnTo>
                  <a:pt x="240" y="621"/>
                </a:lnTo>
                <a:lnTo>
                  <a:pt x="255" y="594"/>
                </a:lnTo>
                <a:lnTo>
                  <a:pt x="270" y="570"/>
                </a:lnTo>
                <a:lnTo>
                  <a:pt x="285" y="544"/>
                </a:lnTo>
                <a:lnTo>
                  <a:pt x="301" y="519"/>
                </a:lnTo>
                <a:lnTo>
                  <a:pt x="318" y="496"/>
                </a:lnTo>
                <a:lnTo>
                  <a:pt x="335" y="472"/>
                </a:lnTo>
                <a:lnTo>
                  <a:pt x="353" y="450"/>
                </a:lnTo>
                <a:lnTo>
                  <a:pt x="373" y="427"/>
                </a:lnTo>
                <a:lnTo>
                  <a:pt x="392" y="406"/>
                </a:lnTo>
                <a:lnTo>
                  <a:pt x="411" y="384"/>
                </a:lnTo>
                <a:lnTo>
                  <a:pt x="433" y="364"/>
                </a:lnTo>
                <a:lnTo>
                  <a:pt x="453" y="344"/>
                </a:lnTo>
                <a:lnTo>
                  <a:pt x="475" y="324"/>
                </a:lnTo>
                <a:lnTo>
                  <a:pt x="497" y="305"/>
                </a:lnTo>
                <a:lnTo>
                  <a:pt x="520" y="287"/>
                </a:lnTo>
                <a:lnTo>
                  <a:pt x="544" y="269"/>
                </a:lnTo>
                <a:lnTo>
                  <a:pt x="569" y="252"/>
                </a:lnTo>
                <a:lnTo>
                  <a:pt x="593" y="236"/>
                </a:lnTo>
                <a:lnTo>
                  <a:pt x="618" y="219"/>
                </a:lnTo>
                <a:lnTo>
                  <a:pt x="643" y="203"/>
                </a:lnTo>
                <a:lnTo>
                  <a:pt x="670" y="188"/>
                </a:lnTo>
                <a:lnTo>
                  <a:pt x="697" y="175"/>
                </a:lnTo>
                <a:lnTo>
                  <a:pt x="725" y="161"/>
                </a:lnTo>
                <a:lnTo>
                  <a:pt x="753" y="147"/>
                </a:lnTo>
                <a:lnTo>
                  <a:pt x="780" y="134"/>
                </a:lnTo>
                <a:lnTo>
                  <a:pt x="810" y="122"/>
                </a:lnTo>
                <a:lnTo>
                  <a:pt x="839" y="110"/>
                </a:lnTo>
                <a:lnTo>
                  <a:pt x="869" y="99"/>
                </a:lnTo>
                <a:lnTo>
                  <a:pt x="900" y="88"/>
                </a:lnTo>
                <a:lnTo>
                  <a:pt x="931" y="78"/>
                </a:lnTo>
                <a:lnTo>
                  <a:pt x="964" y="69"/>
                </a:lnTo>
                <a:lnTo>
                  <a:pt x="995" y="60"/>
                </a:lnTo>
                <a:lnTo>
                  <a:pt x="1027" y="51"/>
                </a:lnTo>
                <a:lnTo>
                  <a:pt x="1060" y="44"/>
                </a:lnTo>
                <a:lnTo>
                  <a:pt x="1092" y="37"/>
                </a:lnTo>
                <a:lnTo>
                  <a:pt x="1125" y="31"/>
                </a:lnTo>
                <a:lnTo>
                  <a:pt x="1158" y="25"/>
                </a:lnTo>
                <a:lnTo>
                  <a:pt x="1193" y="19"/>
                </a:lnTo>
                <a:lnTo>
                  <a:pt x="1227" y="15"/>
                </a:lnTo>
                <a:lnTo>
                  <a:pt x="1261" y="11"/>
                </a:lnTo>
                <a:lnTo>
                  <a:pt x="1295" y="7"/>
                </a:lnTo>
                <a:lnTo>
                  <a:pt x="1331" y="5"/>
                </a:lnTo>
                <a:lnTo>
                  <a:pt x="1366" y="3"/>
                </a:lnTo>
                <a:lnTo>
                  <a:pt x="1401" y="1"/>
                </a:lnTo>
                <a:lnTo>
                  <a:pt x="1438" y="0"/>
                </a:lnTo>
                <a:lnTo>
                  <a:pt x="1474" y="0"/>
                </a:lnTo>
                <a:lnTo>
                  <a:pt x="1511" y="0"/>
                </a:lnTo>
                <a:lnTo>
                  <a:pt x="1548" y="2"/>
                </a:lnTo>
                <a:lnTo>
                  <a:pt x="1586" y="4"/>
                </a:lnTo>
                <a:lnTo>
                  <a:pt x="1624" y="6"/>
                </a:lnTo>
                <a:lnTo>
                  <a:pt x="1662" y="11"/>
                </a:lnTo>
                <a:lnTo>
                  <a:pt x="1699" y="15"/>
                </a:lnTo>
                <a:lnTo>
                  <a:pt x="1737" y="20"/>
                </a:lnTo>
                <a:lnTo>
                  <a:pt x="1774" y="26"/>
                </a:lnTo>
                <a:lnTo>
                  <a:pt x="1811" y="33"/>
                </a:lnTo>
                <a:lnTo>
                  <a:pt x="1849" y="41"/>
                </a:lnTo>
                <a:lnTo>
                  <a:pt x="1885" y="48"/>
                </a:lnTo>
                <a:lnTo>
                  <a:pt x="1921" y="57"/>
                </a:lnTo>
                <a:lnTo>
                  <a:pt x="1956" y="65"/>
                </a:lnTo>
                <a:lnTo>
                  <a:pt x="1991" y="75"/>
                </a:lnTo>
                <a:lnTo>
                  <a:pt x="2025" y="85"/>
                </a:lnTo>
                <a:lnTo>
                  <a:pt x="2059" y="96"/>
                </a:lnTo>
                <a:lnTo>
                  <a:pt x="2091" y="107"/>
                </a:lnTo>
                <a:lnTo>
                  <a:pt x="2123" y="118"/>
                </a:lnTo>
                <a:lnTo>
                  <a:pt x="2154" y="130"/>
                </a:lnTo>
                <a:lnTo>
                  <a:pt x="2184" y="141"/>
                </a:lnTo>
                <a:lnTo>
                  <a:pt x="2214" y="154"/>
                </a:lnTo>
                <a:lnTo>
                  <a:pt x="2242" y="167"/>
                </a:lnTo>
                <a:lnTo>
                  <a:pt x="2269" y="180"/>
                </a:lnTo>
                <a:lnTo>
                  <a:pt x="2295" y="193"/>
                </a:lnTo>
                <a:lnTo>
                  <a:pt x="2320" y="206"/>
                </a:lnTo>
                <a:lnTo>
                  <a:pt x="2344" y="218"/>
                </a:lnTo>
                <a:lnTo>
                  <a:pt x="2364" y="230"/>
                </a:lnTo>
                <a:lnTo>
                  <a:pt x="2382" y="242"/>
                </a:lnTo>
                <a:lnTo>
                  <a:pt x="2398" y="252"/>
                </a:lnTo>
                <a:lnTo>
                  <a:pt x="2412" y="262"/>
                </a:lnTo>
                <a:lnTo>
                  <a:pt x="2424" y="271"/>
                </a:lnTo>
                <a:lnTo>
                  <a:pt x="2432" y="279"/>
                </a:lnTo>
                <a:lnTo>
                  <a:pt x="2447" y="296"/>
                </a:lnTo>
                <a:lnTo>
                  <a:pt x="2460" y="309"/>
                </a:lnTo>
                <a:lnTo>
                  <a:pt x="2470" y="321"/>
                </a:lnTo>
                <a:lnTo>
                  <a:pt x="2476" y="332"/>
                </a:lnTo>
                <a:lnTo>
                  <a:pt x="2482" y="342"/>
                </a:lnTo>
                <a:lnTo>
                  <a:pt x="2486" y="353"/>
                </a:lnTo>
                <a:lnTo>
                  <a:pt x="2490" y="366"/>
                </a:lnTo>
                <a:lnTo>
                  <a:pt x="2493" y="380"/>
                </a:lnTo>
                <a:lnTo>
                  <a:pt x="2497" y="396"/>
                </a:lnTo>
                <a:lnTo>
                  <a:pt x="2499" y="413"/>
                </a:lnTo>
                <a:lnTo>
                  <a:pt x="2502" y="431"/>
                </a:lnTo>
                <a:lnTo>
                  <a:pt x="2503" y="451"/>
                </a:lnTo>
                <a:lnTo>
                  <a:pt x="2505" y="473"/>
                </a:lnTo>
                <a:lnTo>
                  <a:pt x="2506" y="499"/>
                </a:lnTo>
                <a:lnTo>
                  <a:pt x="2507" y="528"/>
                </a:lnTo>
                <a:lnTo>
                  <a:pt x="2507" y="559"/>
                </a:lnTo>
                <a:lnTo>
                  <a:pt x="2507" y="589"/>
                </a:lnTo>
                <a:lnTo>
                  <a:pt x="2506" y="618"/>
                </a:lnTo>
                <a:lnTo>
                  <a:pt x="2504" y="645"/>
                </a:lnTo>
                <a:lnTo>
                  <a:pt x="2502" y="670"/>
                </a:lnTo>
                <a:lnTo>
                  <a:pt x="2499" y="693"/>
                </a:lnTo>
                <a:lnTo>
                  <a:pt x="2496" y="714"/>
                </a:lnTo>
                <a:lnTo>
                  <a:pt x="2491" y="733"/>
                </a:lnTo>
                <a:lnTo>
                  <a:pt x="2487" y="752"/>
                </a:lnTo>
                <a:lnTo>
                  <a:pt x="2481" y="767"/>
                </a:lnTo>
                <a:lnTo>
                  <a:pt x="2474" y="779"/>
                </a:lnTo>
                <a:lnTo>
                  <a:pt x="2466" y="791"/>
                </a:lnTo>
                <a:lnTo>
                  <a:pt x="2457" y="800"/>
                </a:lnTo>
                <a:lnTo>
                  <a:pt x="2447" y="806"/>
                </a:lnTo>
                <a:lnTo>
                  <a:pt x="2437" y="812"/>
                </a:lnTo>
                <a:lnTo>
                  <a:pt x="2426" y="815"/>
                </a:lnTo>
                <a:lnTo>
                  <a:pt x="2413" y="816"/>
                </a:lnTo>
                <a:lnTo>
                  <a:pt x="2404" y="815"/>
                </a:lnTo>
                <a:lnTo>
                  <a:pt x="2392" y="813"/>
                </a:lnTo>
                <a:lnTo>
                  <a:pt x="2379" y="808"/>
                </a:lnTo>
                <a:lnTo>
                  <a:pt x="2365" y="803"/>
                </a:lnTo>
                <a:lnTo>
                  <a:pt x="2349" y="797"/>
                </a:lnTo>
                <a:lnTo>
                  <a:pt x="2332" y="788"/>
                </a:lnTo>
                <a:lnTo>
                  <a:pt x="2314" y="778"/>
                </a:lnTo>
                <a:lnTo>
                  <a:pt x="2294" y="767"/>
                </a:lnTo>
                <a:lnTo>
                  <a:pt x="2273" y="755"/>
                </a:lnTo>
                <a:lnTo>
                  <a:pt x="2252" y="742"/>
                </a:lnTo>
                <a:lnTo>
                  <a:pt x="2228" y="728"/>
                </a:lnTo>
                <a:lnTo>
                  <a:pt x="2203" y="715"/>
                </a:lnTo>
                <a:lnTo>
                  <a:pt x="2178" y="701"/>
                </a:lnTo>
                <a:lnTo>
                  <a:pt x="2152" y="687"/>
                </a:lnTo>
                <a:lnTo>
                  <a:pt x="2124" y="672"/>
                </a:lnTo>
                <a:lnTo>
                  <a:pt x="2095" y="657"/>
                </a:lnTo>
                <a:lnTo>
                  <a:pt x="2065" y="642"/>
                </a:lnTo>
                <a:lnTo>
                  <a:pt x="2033" y="627"/>
                </a:lnTo>
                <a:lnTo>
                  <a:pt x="2000" y="614"/>
                </a:lnTo>
                <a:lnTo>
                  <a:pt x="1966" y="600"/>
                </a:lnTo>
                <a:lnTo>
                  <a:pt x="1930" y="586"/>
                </a:lnTo>
                <a:lnTo>
                  <a:pt x="1894" y="573"/>
                </a:lnTo>
                <a:lnTo>
                  <a:pt x="1855" y="560"/>
                </a:lnTo>
                <a:lnTo>
                  <a:pt x="1816" y="547"/>
                </a:lnTo>
                <a:lnTo>
                  <a:pt x="1775" y="535"/>
                </a:lnTo>
                <a:lnTo>
                  <a:pt x="1732" y="525"/>
                </a:lnTo>
                <a:lnTo>
                  <a:pt x="1689" y="516"/>
                </a:lnTo>
                <a:lnTo>
                  <a:pt x="1644" y="509"/>
                </a:lnTo>
                <a:lnTo>
                  <a:pt x="1598" y="503"/>
                </a:lnTo>
                <a:lnTo>
                  <a:pt x="1551" y="499"/>
                </a:lnTo>
                <a:lnTo>
                  <a:pt x="1503" y="497"/>
                </a:lnTo>
                <a:lnTo>
                  <a:pt x="1454" y="496"/>
                </a:lnTo>
                <a:lnTo>
                  <a:pt x="1408" y="497"/>
                </a:lnTo>
                <a:lnTo>
                  <a:pt x="1363" y="499"/>
                </a:lnTo>
                <a:lnTo>
                  <a:pt x="1319" y="503"/>
                </a:lnTo>
                <a:lnTo>
                  <a:pt x="1278" y="509"/>
                </a:lnTo>
                <a:lnTo>
                  <a:pt x="1238" y="516"/>
                </a:lnTo>
                <a:lnTo>
                  <a:pt x="1199" y="525"/>
                </a:lnTo>
                <a:lnTo>
                  <a:pt x="1163" y="535"/>
                </a:lnTo>
                <a:lnTo>
                  <a:pt x="1127" y="547"/>
                </a:lnTo>
                <a:lnTo>
                  <a:pt x="1093" y="560"/>
                </a:lnTo>
                <a:lnTo>
                  <a:pt x="1061" y="574"/>
                </a:lnTo>
                <a:lnTo>
                  <a:pt x="1030" y="589"/>
                </a:lnTo>
                <a:lnTo>
                  <a:pt x="1001" y="605"/>
                </a:lnTo>
                <a:lnTo>
                  <a:pt x="973" y="623"/>
                </a:lnTo>
                <a:lnTo>
                  <a:pt x="946" y="641"/>
                </a:lnTo>
                <a:lnTo>
                  <a:pt x="922" y="661"/>
                </a:lnTo>
                <a:lnTo>
                  <a:pt x="898" y="681"/>
                </a:lnTo>
                <a:lnTo>
                  <a:pt x="877" y="701"/>
                </a:lnTo>
                <a:lnTo>
                  <a:pt x="857" y="724"/>
                </a:lnTo>
                <a:lnTo>
                  <a:pt x="837" y="747"/>
                </a:lnTo>
                <a:lnTo>
                  <a:pt x="819" y="771"/>
                </a:lnTo>
                <a:lnTo>
                  <a:pt x="803" y="797"/>
                </a:lnTo>
                <a:lnTo>
                  <a:pt x="789" y="822"/>
                </a:lnTo>
                <a:lnTo>
                  <a:pt x="775" y="850"/>
                </a:lnTo>
                <a:lnTo>
                  <a:pt x="763" y="878"/>
                </a:lnTo>
                <a:lnTo>
                  <a:pt x="753" y="907"/>
                </a:lnTo>
                <a:lnTo>
                  <a:pt x="743" y="936"/>
                </a:lnTo>
                <a:lnTo>
                  <a:pt x="736" y="966"/>
                </a:lnTo>
                <a:lnTo>
                  <a:pt x="729" y="996"/>
                </a:lnTo>
                <a:lnTo>
                  <a:pt x="724" y="1026"/>
                </a:lnTo>
                <a:lnTo>
                  <a:pt x="721" y="1057"/>
                </a:lnTo>
                <a:lnTo>
                  <a:pt x="718" y="1089"/>
                </a:lnTo>
                <a:lnTo>
                  <a:pt x="717" y="1121"/>
                </a:lnTo>
                <a:lnTo>
                  <a:pt x="717" y="1145"/>
                </a:lnTo>
                <a:lnTo>
                  <a:pt x="718" y="1167"/>
                </a:lnTo>
                <a:lnTo>
                  <a:pt x="721" y="1190"/>
                </a:lnTo>
                <a:lnTo>
                  <a:pt x="723" y="1211"/>
                </a:lnTo>
                <a:lnTo>
                  <a:pt x="726" y="1232"/>
                </a:lnTo>
                <a:lnTo>
                  <a:pt x="730" y="1254"/>
                </a:lnTo>
                <a:lnTo>
                  <a:pt x="734" y="1274"/>
                </a:lnTo>
                <a:lnTo>
                  <a:pt x="740" y="1294"/>
                </a:lnTo>
                <a:lnTo>
                  <a:pt x="745" y="1315"/>
                </a:lnTo>
                <a:lnTo>
                  <a:pt x="752" y="1334"/>
                </a:lnTo>
                <a:lnTo>
                  <a:pt x="759" y="1353"/>
                </a:lnTo>
                <a:lnTo>
                  <a:pt x="767" y="1373"/>
                </a:lnTo>
                <a:lnTo>
                  <a:pt x="775" y="1391"/>
                </a:lnTo>
                <a:lnTo>
                  <a:pt x="785" y="1408"/>
                </a:lnTo>
                <a:lnTo>
                  <a:pt x="794" y="1426"/>
                </a:lnTo>
                <a:lnTo>
                  <a:pt x="805" y="1443"/>
                </a:lnTo>
                <a:lnTo>
                  <a:pt x="828" y="1476"/>
                </a:lnTo>
                <a:lnTo>
                  <a:pt x="852" y="1509"/>
                </a:lnTo>
                <a:lnTo>
                  <a:pt x="878" y="1540"/>
                </a:lnTo>
                <a:lnTo>
                  <a:pt x="906" y="1571"/>
                </a:lnTo>
                <a:lnTo>
                  <a:pt x="936" y="1600"/>
                </a:lnTo>
                <a:lnTo>
                  <a:pt x="967" y="1629"/>
                </a:lnTo>
                <a:lnTo>
                  <a:pt x="1000" y="1655"/>
                </a:lnTo>
                <a:lnTo>
                  <a:pt x="1035" y="1682"/>
                </a:lnTo>
                <a:lnTo>
                  <a:pt x="1073" y="1708"/>
                </a:lnTo>
                <a:lnTo>
                  <a:pt x="1110" y="1733"/>
                </a:lnTo>
                <a:lnTo>
                  <a:pt x="1149" y="1758"/>
                </a:lnTo>
                <a:lnTo>
                  <a:pt x="1189" y="1783"/>
                </a:lnTo>
                <a:lnTo>
                  <a:pt x="1231" y="1806"/>
                </a:lnTo>
                <a:lnTo>
                  <a:pt x="1273" y="1829"/>
                </a:lnTo>
                <a:lnTo>
                  <a:pt x="1317" y="1851"/>
                </a:lnTo>
                <a:lnTo>
                  <a:pt x="1363" y="1873"/>
                </a:lnTo>
                <a:lnTo>
                  <a:pt x="1409" y="1894"/>
                </a:lnTo>
                <a:lnTo>
                  <a:pt x="1455" y="1917"/>
                </a:lnTo>
                <a:lnTo>
                  <a:pt x="1502" y="1938"/>
                </a:lnTo>
                <a:lnTo>
                  <a:pt x="1548" y="1959"/>
                </a:lnTo>
                <a:lnTo>
                  <a:pt x="1595" y="1982"/>
                </a:lnTo>
                <a:lnTo>
                  <a:pt x="1642" y="2003"/>
                </a:lnTo>
                <a:lnTo>
                  <a:pt x="1689" y="2026"/>
                </a:lnTo>
                <a:lnTo>
                  <a:pt x="1738" y="2048"/>
                </a:lnTo>
                <a:lnTo>
                  <a:pt x="1785" y="2071"/>
                </a:lnTo>
                <a:lnTo>
                  <a:pt x="1833" y="2093"/>
                </a:lnTo>
                <a:lnTo>
                  <a:pt x="1880" y="2117"/>
                </a:lnTo>
                <a:lnTo>
                  <a:pt x="1926" y="2141"/>
                </a:lnTo>
                <a:lnTo>
                  <a:pt x="1973" y="2165"/>
                </a:lnTo>
                <a:lnTo>
                  <a:pt x="2020" y="2191"/>
                </a:lnTo>
                <a:lnTo>
                  <a:pt x="2066" y="2216"/>
                </a:lnTo>
                <a:lnTo>
                  <a:pt x="2112" y="2242"/>
                </a:lnTo>
                <a:lnTo>
                  <a:pt x="2157" y="2269"/>
                </a:lnTo>
                <a:lnTo>
                  <a:pt x="2201" y="2298"/>
                </a:lnTo>
                <a:lnTo>
                  <a:pt x="2244" y="2327"/>
                </a:lnTo>
                <a:lnTo>
                  <a:pt x="2286" y="2358"/>
                </a:lnTo>
                <a:lnTo>
                  <a:pt x="2326" y="2390"/>
                </a:lnTo>
                <a:lnTo>
                  <a:pt x="2365" y="2422"/>
                </a:lnTo>
                <a:lnTo>
                  <a:pt x="2404" y="2456"/>
                </a:lnTo>
                <a:lnTo>
                  <a:pt x="2440" y="2491"/>
                </a:lnTo>
                <a:lnTo>
                  <a:pt x="2457" y="2510"/>
                </a:lnTo>
                <a:lnTo>
                  <a:pt x="2475" y="2529"/>
                </a:lnTo>
                <a:lnTo>
                  <a:pt x="2491" y="2547"/>
                </a:lnTo>
                <a:lnTo>
                  <a:pt x="2508" y="2566"/>
                </a:lnTo>
                <a:lnTo>
                  <a:pt x="2525" y="2587"/>
                </a:lnTo>
                <a:lnTo>
                  <a:pt x="2540" y="2607"/>
                </a:lnTo>
                <a:lnTo>
                  <a:pt x="2556" y="2627"/>
                </a:lnTo>
                <a:lnTo>
                  <a:pt x="2570" y="2649"/>
                </a:lnTo>
                <a:lnTo>
                  <a:pt x="2584" y="2670"/>
                </a:lnTo>
                <a:lnTo>
                  <a:pt x="2598" y="2692"/>
                </a:lnTo>
                <a:lnTo>
                  <a:pt x="2611" y="2714"/>
                </a:lnTo>
                <a:lnTo>
                  <a:pt x="2624" y="2737"/>
                </a:lnTo>
                <a:lnTo>
                  <a:pt x="2637" y="2760"/>
                </a:lnTo>
                <a:lnTo>
                  <a:pt x="2649" y="2784"/>
                </a:lnTo>
                <a:lnTo>
                  <a:pt x="2661" y="2807"/>
                </a:lnTo>
                <a:lnTo>
                  <a:pt x="2671" y="2832"/>
                </a:lnTo>
                <a:lnTo>
                  <a:pt x="2683" y="2857"/>
                </a:lnTo>
                <a:lnTo>
                  <a:pt x="2693" y="2882"/>
                </a:lnTo>
                <a:lnTo>
                  <a:pt x="2702" y="2908"/>
                </a:lnTo>
                <a:lnTo>
                  <a:pt x="2711" y="2935"/>
                </a:lnTo>
                <a:lnTo>
                  <a:pt x="2718" y="2962"/>
                </a:lnTo>
                <a:lnTo>
                  <a:pt x="2726" y="2989"/>
                </a:lnTo>
                <a:lnTo>
                  <a:pt x="2732" y="3017"/>
                </a:lnTo>
                <a:lnTo>
                  <a:pt x="2739" y="3046"/>
                </a:lnTo>
                <a:lnTo>
                  <a:pt x="2744" y="3075"/>
                </a:lnTo>
                <a:lnTo>
                  <a:pt x="2748" y="3105"/>
                </a:lnTo>
                <a:lnTo>
                  <a:pt x="2752" y="3135"/>
                </a:lnTo>
                <a:lnTo>
                  <a:pt x="2755" y="3166"/>
                </a:lnTo>
                <a:lnTo>
                  <a:pt x="2757" y="3197"/>
                </a:lnTo>
                <a:lnTo>
                  <a:pt x="2759" y="3229"/>
                </a:lnTo>
                <a:lnTo>
                  <a:pt x="2760" y="3262"/>
                </a:lnTo>
                <a:lnTo>
                  <a:pt x="2760" y="329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9" name="Straight Connector 18"/>
          <p:cNvCxnSpPr>
            <a:stCxn id="7" idx="0"/>
          </p:cNvCxnSpPr>
          <p:nvPr/>
        </p:nvCxnSpPr>
        <p:spPr>
          <a:xfrm>
            <a:off x="4572000" y="1853076"/>
            <a:ext cx="0" cy="3938124"/>
          </a:xfrm>
          <a:prstGeom prst="line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7" idx="1"/>
            <a:endCxn id="7" idx="3"/>
          </p:cNvCxnSpPr>
          <p:nvPr/>
        </p:nvCxnSpPr>
        <p:spPr>
          <a:xfrm>
            <a:off x="2328483" y="3826419"/>
            <a:ext cx="4487034" cy="0"/>
          </a:xfrm>
          <a:prstGeom prst="line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33"/>
          <p:cNvSpPr>
            <a:spLocks/>
          </p:cNvSpPr>
          <p:nvPr/>
        </p:nvSpPr>
        <p:spPr bwMode="auto">
          <a:xfrm>
            <a:off x="2538931" y="252835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STRENGTH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92" name="Rectangle 33"/>
          <p:cNvSpPr>
            <a:spLocks/>
          </p:cNvSpPr>
          <p:nvPr/>
        </p:nvSpPr>
        <p:spPr bwMode="auto">
          <a:xfrm>
            <a:off x="4833205" y="252835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WEAKNESS </a:t>
            </a:r>
            <a:endParaRPr lang="en-US" sz="1200" b="1" dirty="0" smtClean="0"/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93" name="Rectangle 33"/>
          <p:cNvSpPr>
            <a:spLocks/>
          </p:cNvSpPr>
          <p:nvPr/>
        </p:nvSpPr>
        <p:spPr bwMode="auto">
          <a:xfrm>
            <a:off x="2538931" y="4420961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OPPORTUNITY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94" name="Rectangle 33"/>
          <p:cNvSpPr>
            <a:spLocks/>
          </p:cNvSpPr>
          <p:nvPr/>
        </p:nvSpPr>
        <p:spPr bwMode="auto">
          <a:xfrm>
            <a:off x="4833205" y="4420961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THREAT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055246" y="1578963"/>
            <a:ext cx="742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HELPFU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5190539" y="1578963"/>
            <a:ext cx="8338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HARMFU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 rot="16200000">
            <a:off x="1783397" y="4673160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EXTERNA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 rot="16200000">
            <a:off x="1781527" y="2786632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INTERNAL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4621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 rot="5400000">
            <a:off x="4221479" y="870028"/>
            <a:ext cx="701040" cy="3611880"/>
            <a:chOff x="758952" y="3762247"/>
            <a:chExt cx="384049" cy="1760729"/>
          </a:xfrm>
        </p:grpSpPr>
        <p:cxnSp>
          <p:nvCxnSpPr>
            <p:cNvPr id="50" name="Straight Connector 49"/>
            <p:cNvCxnSpPr/>
            <p:nvPr/>
          </p:nvCxnSpPr>
          <p:spPr>
            <a:xfrm>
              <a:off x="950976" y="3762248"/>
              <a:ext cx="0" cy="1760728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950976" y="5522976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950977" y="3762247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758952" y="4639733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 rot="5400000">
            <a:off x="2450787" y="2886475"/>
            <a:ext cx="630546" cy="1615440"/>
            <a:chOff x="758952" y="3762247"/>
            <a:chExt cx="384049" cy="1760729"/>
          </a:xfrm>
        </p:grpSpPr>
        <p:cxnSp>
          <p:nvCxnSpPr>
            <p:cNvPr id="55" name="Straight Connector 54"/>
            <p:cNvCxnSpPr/>
            <p:nvPr/>
          </p:nvCxnSpPr>
          <p:spPr>
            <a:xfrm>
              <a:off x="950976" y="3762248"/>
              <a:ext cx="0" cy="1760728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50976" y="5522976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950977" y="3762247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758952" y="4639733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 rot="5400000">
            <a:off x="6062664" y="2886475"/>
            <a:ext cx="630546" cy="1615440"/>
            <a:chOff x="758952" y="3762247"/>
            <a:chExt cx="384049" cy="1760729"/>
          </a:xfrm>
        </p:grpSpPr>
        <p:cxnSp>
          <p:nvCxnSpPr>
            <p:cNvPr id="60" name="Straight Connector 59"/>
            <p:cNvCxnSpPr/>
            <p:nvPr/>
          </p:nvCxnSpPr>
          <p:spPr>
            <a:xfrm>
              <a:off x="950976" y="3762248"/>
              <a:ext cx="0" cy="1760728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950976" y="5522976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950977" y="3762247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758952" y="4639733"/>
              <a:ext cx="192024" cy="0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5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489960" y="1753948"/>
            <a:ext cx="2164080" cy="571500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141220" y="3026488"/>
            <a:ext cx="1226820" cy="3524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757101" y="3026488"/>
            <a:ext cx="1226820" cy="3524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553814" y="3915634"/>
            <a:ext cx="807606" cy="807604"/>
            <a:chOff x="641954" y="2128152"/>
            <a:chExt cx="646434" cy="646432"/>
          </a:xfrm>
        </p:grpSpPr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641954" y="2128152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746125" y="2269431"/>
              <a:ext cx="398202" cy="328948"/>
            </a:xfrm>
            <a:custGeom>
              <a:avLst/>
              <a:gdLst>
                <a:gd name="T0" fmla="*/ 0 w 1563"/>
                <a:gd name="T1" fmla="*/ 1243 h 1291"/>
                <a:gd name="T2" fmla="*/ 259 w 1563"/>
                <a:gd name="T3" fmla="*/ 793 h 1291"/>
                <a:gd name="T4" fmla="*/ 278 w 1563"/>
                <a:gd name="T5" fmla="*/ 761 h 1291"/>
                <a:gd name="T6" fmla="*/ 313 w 1563"/>
                <a:gd name="T7" fmla="*/ 771 h 1291"/>
                <a:gd name="T8" fmla="*/ 551 w 1563"/>
                <a:gd name="T9" fmla="*/ 835 h 1291"/>
                <a:gd name="T10" fmla="*/ 778 w 1563"/>
                <a:gd name="T11" fmla="*/ 442 h 1291"/>
                <a:gd name="T12" fmla="*/ 809 w 1563"/>
                <a:gd name="T13" fmla="*/ 388 h 1291"/>
                <a:gd name="T14" fmla="*/ 853 w 1563"/>
                <a:gd name="T15" fmla="*/ 432 h 1291"/>
                <a:gd name="T16" fmla="*/ 1050 w 1563"/>
                <a:gd name="T17" fmla="*/ 629 h 1291"/>
                <a:gd name="T18" fmla="*/ 1297 w 1563"/>
                <a:gd name="T19" fmla="*/ 200 h 1291"/>
                <a:gd name="T20" fmla="*/ 1112 w 1563"/>
                <a:gd name="T21" fmla="*/ 87 h 1291"/>
                <a:gd name="T22" fmla="*/ 1476 w 1563"/>
                <a:gd name="T23" fmla="*/ 0 h 1291"/>
                <a:gd name="T24" fmla="*/ 1563 w 1563"/>
                <a:gd name="T25" fmla="*/ 363 h 1291"/>
                <a:gd name="T26" fmla="*/ 1379 w 1563"/>
                <a:gd name="T27" fmla="*/ 250 h 1291"/>
                <a:gd name="T28" fmla="*/ 1102 w 1563"/>
                <a:gd name="T29" fmla="*/ 731 h 1291"/>
                <a:gd name="T30" fmla="*/ 1070 w 1563"/>
                <a:gd name="T31" fmla="*/ 785 h 1291"/>
                <a:gd name="T32" fmla="*/ 1025 w 1563"/>
                <a:gd name="T33" fmla="*/ 740 h 1291"/>
                <a:gd name="T34" fmla="*/ 830 w 1563"/>
                <a:gd name="T35" fmla="*/ 544 h 1291"/>
                <a:gd name="T36" fmla="*/ 616 w 1563"/>
                <a:gd name="T37" fmla="*/ 915 h 1291"/>
                <a:gd name="T38" fmla="*/ 597 w 1563"/>
                <a:gd name="T39" fmla="*/ 947 h 1291"/>
                <a:gd name="T40" fmla="*/ 562 w 1563"/>
                <a:gd name="T41" fmla="*/ 937 h 1291"/>
                <a:gd name="T42" fmla="*/ 324 w 1563"/>
                <a:gd name="T43" fmla="*/ 873 h 1291"/>
                <a:gd name="T44" fmla="*/ 83 w 1563"/>
                <a:gd name="T45" fmla="*/ 1291 h 1291"/>
                <a:gd name="T46" fmla="*/ 0 w 1563"/>
                <a:gd name="T47" fmla="*/ 1243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1243"/>
                  </a:moveTo>
                  <a:lnTo>
                    <a:pt x="259" y="793"/>
                  </a:lnTo>
                  <a:lnTo>
                    <a:pt x="278" y="761"/>
                  </a:lnTo>
                  <a:lnTo>
                    <a:pt x="313" y="771"/>
                  </a:lnTo>
                  <a:lnTo>
                    <a:pt x="551" y="835"/>
                  </a:lnTo>
                  <a:lnTo>
                    <a:pt x="778" y="442"/>
                  </a:lnTo>
                  <a:lnTo>
                    <a:pt x="809" y="388"/>
                  </a:lnTo>
                  <a:lnTo>
                    <a:pt x="853" y="432"/>
                  </a:lnTo>
                  <a:lnTo>
                    <a:pt x="1050" y="629"/>
                  </a:lnTo>
                  <a:lnTo>
                    <a:pt x="1297" y="200"/>
                  </a:lnTo>
                  <a:lnTo>
                    <a:pt x="1112" y="87"/>
                  </a:lnTo>
                  <a:lnTo>
                    <a:pt x="1476" y="0"/>
                  </a:lnTo>
                  <a:lnTo>
                    <a:pt x="1563" y="363"/>
                  </a:lnTo>
                  <a:lnTo>
                    <a:pt x="1379" y="250"/>
                  </a:lnTo>
                  <a:lnTo>
                    <a:pt x="1102" y="731"/>
                  </a:lnTo>
                  <a:lnTo>
                    <a:pt x="1070" y="785"/>
                  </a:lnTo>
                  <a:lnTo>
                    <a:pt x="1025" y="740"/>
                  </a:lnTo>
                  <a:lnTo>
                    <a:pt x="830" y="544"/>
                  </a:lnTo>
                  <a:lnTo>
                    <a:pt x="616" y="915"/>
                  </a:lnTo>
                  <a:lnTo>
                    <a:pt x="597" y="947"/>
                  </a:lnTo>
                  <a:lnTo>
                    <a:pt x="562" y="937"/>
                  </a:lnTo>
                  <a:lnTo>
                    <a:pt x="324" y="873"/>
                  </a:lnTo>
                  <a:lnTo>
                    <a:pt x="83" y="1291"/>
                  </a:lnTo>
                  <a:lnTo>
                    <a:pt x="0" y="12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162369" y="3915634"/>
            <a:ext cx="807606" cy="807604"/>
            <a:chOff x="7923833" y="2128151"/>
            <a:chExt cx="646434" cy="646432"/>
          </a:xfrm>
        </p:grpSpPr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7923833" y="2128151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38" name="Freeform 11"/>
            <p:cNvSpPr>
              <a:spLocks/>
            </p:cNvSpPr>
            <p:nvPr/>
          </p:nvSpPr>
          <p:spPr bwMode="auto">
            <a:xfrm>
              <a:off x="8039361" y="2278956"/>
              <a:ext cx="398202" cy="328948"/>
            </a:xfrm>
            <a:custGeom>
              <a:avLst/>
              <a:gdLst>
                <a:gd name="T0" fmla="*/ 0 w 1563"/>
                <a:gd name="T1" fmla="*/ 47 h 1291"/>
                <a:gd name="T2" fmla="*/ 259 w 1563"/>
                <a:gd name="T3" fmla="*/ 497 h 1291"/>
                <a:gd name="T4" fmla="*/ 278 w 1563"/>
                <a:gd name="T5" fmla="*/ 529 h 1291"/>
                <a:gd name="T6" fmla="*/ 313 w 1563"/>
                <a:gd name="T7" fmla="*/ 520 h 1291"/>
                <a:gd name="T8" fmla="*/ 551 w 1563"/>
                <a:gd name="T9" fmla="*/ 456 h 1291"/>
                <a:gd name="T10" fmla="*/ 778 w 1563"/>
                <a:gd name="T11" fmla="*/ 849 h 1291"/>
                <a:gd name="T12" fmla="*/ 809 w 1563"/>
                <a:gd name="T13" fmla="*/ 903 h 1291"/>
                <a:gd name="T14" fmla="*/ 853 w 1563"/>
                <a:gd name="T15" fmla="*/ 859 h 1291"/>
                <a:gd name="T16" fmla="*/ 1049 w 1563"/>
                <a:gd name="T17" fmla="*/ 662 h 1291"/>
                <a:gd name="T18" fmla="*/ 1296 w 1563"/>
                <a:gd name="T19" fmla="*/ 1090 h 1291"/>
                <a:gd name="T20" fmla="*/ 1112 w 1563"/>
                <a:gd name="T21" fmla="*/ 1204 h 1291"/>
                <a:gd name="T22" fmla="*/ 1476 w 1563"/>
                <a:gd name="T23" fmla="*/ 1291 h 1291"/>
                <a:gd name="T24" fmla="*/ 1563 w 1563"/>
                <a:gd name="T25" fmla="*/ 927 h 1291"/>
                <a:gd name="T26" fmla="*/ 1378 w 1563"/>
                <a:gd name="T27" fmla="*/ 1041 h 1291"/>
                <a:gd name="T28" fmla="*/ 1101 w 1563"/>
                <a:gd name="T29" fmla="*/ 561 h 1291"/>
                <a:gd name="T30" fmla="*/ 1070 w 1563"/>
                <a:gd name="T31" fmla="*/ 506 h 1291"/>
                <a:gd name="T32" fmla="*/ 1025 w 1563"/>
                <a:gd name="T33" fmla="*/ 551 h 1291"/>
                <a:gd name="T34" fmla="*/ 829 w 1563"/>
                <a:gd name="T35" fmla="*/ 746 h 1291"/>
                <a:gd name="T36" fmla="*/ 616 w 1563"/>
                <a:gd name="T37" fmla="*/ 376 h 1291"/>
                <a:gd name="T38" fmla="*/ 597 w 1563"/>
                <a:gd name="T39" fmla="*/ 344 h 1291"/>
                <a:gd name="T40" fmla="*/ 562 w 1563"/>
                <a:gd name="T41" fmla="*/ 353 h 1291"/>
                <a:gd name="T42" fmla="*/ 323 w 1563"/>
                <a:gd name="T43" fmla="*/ 417 h 1291"/>
                <a:gd name="T44" fmla="*/ 83 w 1563"/>
                <a:gd name="T45" fmla="*/ 0 h 1291"/>
                <a:gd name="T46" fmla="*/ 0 w 1563"/>
                <a:gd name="T47" fmla="*/ 47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47"/>
                  </a:moveTo>
                  <a:lnTo>
                    <a:pt x="259" y="497"/>
                  </a:lnTo>
                  <a:lnTo>
                    <a:pt x="278" y="529"/>
                  </a:lnTo>
                  <a:lnTo>
                    <a:pt x="313" y="520"/>
                  </a:lnTo>
                  <a:lnTo>
                    <a:pt x="551" y="456"/>
                  </a:lnTo>
                  <a:lnTo>
                    <a:pt x="778" y="849"/>
                  </a:lnTo>
                  <a:lnTo>
                    <a:pt x="809" y="903"/>
                  </a:lnTo>
                  <a:lnTo>
                    <a:pt x="853" y="859"/>
                  </a:lnTo>
                  <a:lnTo>
                    <a:pt x="1049" y="662"/>
                  </a:lnTo>
                  <a:lnTo>
                    <a:pt x="1296" y="1090"/>
                  </a:lnTo>
                  <a:lnTo>
                    <a:pt x="1112" y="1204"/>
                  </a:lnTo>
                  <a:lnTo>
                    <a:pt x="1476" y="1291"/>
                  </a:lnTo>
                  <a:lnTo>
                    <a:pt x="1563" y="927"/>
                  </a:lnTo>
                  <a:lnTo>
                    <a:pt x="1378" y="1041"/>
                  </a:lnTo>
                  <a:lnTo>
                    <a:pt x="1101" y="561"/>
                  </a:lnTo>
                  <a:lnTo>
                    <a:pt x="1070" y="506"/>
                  </a:lnTo>
                  <a:lnTo>
                    <a:pt x="1025" y="551"/>
                  </a:lnTo>
                  <a:lnTo>
                    <a:pt x="829" y="746"/>
                  </a:lnTo>
                  <a:lnTo>
                    <a:pt x="616" y="376"/>
                  </a:lnTo>
                  <a:lnTo>
                    <a:pt x="597" y="344"/>
                  </a:lnTo>
                  <a:lnTo>
                    <a:pt x="562" y="353"/>
                  </a:lnTo>
                  <a:lnTo>
                    <a:pt x="323" y="417"/>
                  </a:lnTo>
                  <a:lnTo>
                    <a:pt x="83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783339" y="3915634"/>
            <a:ext cx="807606" cy="807604"/>
            <a:chOff x="641954" y="4705701"/>
            <a:chExt cx="646434" cy="646432"/>
          </a:xfrm>
        </p:grpSpPr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641954" y="4705701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CE202A"/>
            </a:solidFill>
            <a:ln>
              <a:solidFill>
                <a:srgbClr val="CE202A"/>
              </a:solidFill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43" name="Freeform 13"/>
            <p:cNvSpPr>
              <a:spLocks noEditPoints="1"/>
            </p:cNvSpPr>
            <p:nvPr/>
          </p:nvSpPr>
          <p:spPr bwMode="auto">
            <a:xfrm>
              <a:off x="925116" y="4883589"/>
              <a:ext cx="66886" cy="285058"/>
            </a:xfrm>
            <a:custGeom>
              <a:avLst/>
              <a:gdLst>
                <a:gd name="T0" fmla="*/ 0 w 337"/>
                <a:gd name="T1" fmla="*/ 0 h 1432"/>
                <a:gd name="T2" fmla="*/ 337 w 337"/>
                <a:gd name="T3" fmla="*/ 0 h 1432"/>
                <a:gd name="T4" fmla="*/ 337 w 337"/>
                <a:gd name="T5" fmla="*/ 558 h 1432"/>
                <a:gd name="T6" fmla="*/ 272 w 337"/>
                <a:gd name="T7" fmla="*/ 1076 h 1432"/>
                <a:gd name="T8" fmla="*/ 64 w 337"/>
                <a:gd name="T9" fmla="*/ 1076 h 1432"/>
                <a:gd name="T10" fmla="*/ 0 w 337"/>
                <a:gd name="T11" fmla="*/ 558 h 1432"/>
                <a:gd name="T12" fmla="*/ 0 w 337"/>
                <a:gd name="T13" fmla="*/ 0 h 1432"/>
                <a:gd name="T14" fmla="*/ 12 w 337"/>
                <a:gd name="T15" fmla="*/ 1154 h 1432"/>
                <a:gd name="T16" fmla="*/ 326 w 337"/>
                <a:gd name="T17" fmla="*/ 1154 h 1432"/>
                <a:gd name="T18" fmla="*/ 326 w 337"/>
                <a:gd name="T19" fmla="*/ 1432 h 1432"/>
                <a:gd name="T20" fmla="*/ 12 w 337"/>
                <a:gd name="T21" fmla="*/ 1432 h 1432"/>
                <a:gd name="T22" fmla="*/ 12 w 337"/>
                <a:gd name="T23" fmla="*/ 1154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7" h="1432">
                  <a:moveTo>
                    <a:pt x="0" y="0"/>
                  </a:moveTo>
                  <a:lnTo>
                    <a:pt x="337" y="0"/>
                  </a:lnTo>
                  <a:lnTo>
                    <a:pt x="337" y="558"/>
                  </a:lnTo>
                  <a:lnTo>
                    <a:pt x="272" y="1076"/>
                  </a:lnTo>
                  <a:lnTo>
                    <a:pt x="64" y="1076"/>
                  </a:lnTo>
                  <a:lnTo>
                    <a:pt x="0" y="558"/>
                  </a:lnTo>
                  <a:lnTo>
                    <a:pt x="0" y="0"/>
                  </a:lnTo>
                  <a:close/>
                  <a:moveTo>
                    <a:pt x="12" y="1154"/>
                  </a:moveTo>
                  <a:lnTo>
                    <a:pt x="326" y="1154"/>
                  </a:lnTo>
                  <a:lnTo>
                    <a:pt x="326" y="1432"/>
                  </a:lnTo>
                  <a:lnTo>
                    <a:pt x="12" y="1432"/>
                  </a:lnTo>
                  <a:lnTo>
                    <a:pt x="12" y="1154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CE202A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159544" y="3915634"/>
            <a:ext cx="807606" cy="807604"/>
            <a:chOff x="7923833" y="4705701"/>
            <a:chExt cx="646434" cy="646432"/>
          </a:xfrm>
        </p:grpSpPr>
        <p:sp>
          <p:nvSpPr>
            <p:cNvPr id="47" name="Freeform 7"/>
            <p:cNvSpPr>
              <a:spLocks/>
            </p:cNvSpPr>
            <p:nvPr/>
          </p:nvSpPr>
          <p:spPr bwMode="auto">
            <a:xfrm>
              <a:off x="7923833" y="4705701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E99E0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8108566" y="4885110"/>
              <a:ext cx="281372" cy="267026"/>
            </a:xfrm>
            <a:custGeom>
              <a:avLst/>
              <a:gdLst>
                <a:gd name="T0" fmla="*/ 509 w 1018"/>
                <a:gd name="T1" fmla="*/ 0 h 968"/>
                <a:gd name="T2" fmla="*/ 665 w 1018"/>
                <a:gd name="T3" fmla="*/ 321 h 968"/>
                <a:gd name="T4" fmla="*/ 1018 w 1018"/>
                <a:gd name="T5" fmla="*/ 370 h 968"/>
                <a:gd name="T6" fmla="*/ 761 w 1018"/>
                <a:gd name="T7" fmla="*/ 617 h 968"/>
                <a:gd name="T8" fmla="*/ 824 w 1018"/>
                <a:gd name="T9" fmla="*/ 968 h 968"/>
                <a:gd name="T10" fmla="*/ 509 w 1018"/>
                <a:gd name="T11" fmla="*/ 800 h 968"/>
                <a:gd name="T12" fmla="*/ 194 w 1018"/>
                <a:gd name="T13" fmla="*/ 968 h 968"/>
                <a:gd name="T14" fmla="*/ 257 w 1018"/>
                <a:gd name="T15" fmla="*/ 617 h 968"/>
                <a:gd name="T16" fmla="*/ 0 w 1018"/>
                <a:gd name="T17" fmla="*/ 370 h 968"/>
                <a:gd name="T18" fmla="*/ 353 w 1018"/>
                <a:gd name="T19" fmla="*/ 321 h 968"/>
                <a:gd name="T20" fmla="*/ 509 w 1018"/>
                <a:gd name="T21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8" h="968">
                  <a:moveTo>
                    <a:pt x="509" y="0"/>
                  </a:moveTo>
                  <a:lnTo>
                    <a:pt x="665" y="321"/>
                  </a:lnTo>
                  <a:lnTo>
                    <a:pt x="1018" y="370"/>
                  </a:lnTo>
                  <a:lnTo>
                    <a:pt x="761" y="617"/>
                  </a:lnTo>
                  <a:lnTo>
                    <a:pt x="824" y="968"/>
                  </a:lnTo>
                  <a:lnTo>
                    <a:pt x="509" y="800"/>
                  </a:lnTo>
                  <a:lnTo>
                    <a:pt x="194" y="968"/>
                  </a:lnTo>
                  <a:lnTo>
                    <a:pt x="257" y="617"/>
                  </a:lnTo>
                  <a:lnTo>
                    <a:pt x="0" y="370"/>
                  </a:lnTo>
                  <a:lnTo>
                    <a:pt x="353" y="321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4" name="Rectangle 33"/>
          <p:cNvSpPr>
            <a:spLocks/>
          </p:cNvSpPr>
          <p:nvPr/>
        </p:nvSpPr>
        <p:spPr bwMode="auto">
          <a:xfrm>
            <a:off x="1330528" y="4815282"/>
            <a:ext cx="1247750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STRENGTH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65" name="Rectangle 33"/>
          <p:cNvSpPr>
            <a:spLocks/>
          </p:cNvSpPr>
          <p:nvPr/>
        </p:nvSpPr>
        <p:spPr bwMode="auto">
          <a:xfrm>
            <a:off x="2949905" y="4815282"/>
            <a:ext cx="1247750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WEAKNESS </a:t>
            </a:r>
            <a:endParaRPr lang="en-US" sz="1200" b="1" dirty="0" smtClean="0"/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66" name="Rectangle 33"/>
          <p:cNvSpPr>
            <a:spLocks/>
          </p:cNvSpPr>
          <p:nvPr/>
        </p:nvSpPr>
        <p:spPr bwMode="auto">
          <a:xfrm>
            <a:off x="4946342" y="4815282"/>
            <a:ext cx="1247750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OPPORTUNITY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67" name="Rectangle 33"/>
          <p:cNvSpPr>
            <a:spLocks/>
          </p:cNvSpPr>
          <p:nvPr/>
        </p:nvSpPr>
        <p:spPr bwMode="auto">
          <a:xfrm>
            <a:off x="6600825" y="4815282"/>
            <a:ext cx="1247750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200" b="1" dirty="0"/>
              <a:t>THREAT</a:t>
            </a:r>
          </a:p>
          <a:p>
            <a:pPr algn="ctr"/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911789" y="1882991"/>
            <a:ext cx="13204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Situation Analysi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422085" y="3064206"/>
            <a:ext cx="6879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Internal</a:t>
            </a:r>
            <a:endParaRPr lang="en-US" sz="120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6022841" y="3064206"/>
            <a:ext cx="7101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External</a:t>
            </a:r>
            <a:endParaRPr lang="en-US" sz="12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1451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6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077502" y="1927889"/>
            <a:ext cx="2978712" cy="2978713"/>
            <a:chOff x="2798999" y="1960257"/>
            <a:chExt cx="3546001" cy="3546004"/>
          </a:xfrm>
        </p:grpSpPr>
        <p:sp>
          <p:nvSpPr>
            <p:cNvPr id="8" name="Rectangle 7"/>
            <p:cNvSpPr/>
            <p:nvPr/>
          </p:nvSpPr>
          <p:spPr>
            <a:xfrm rot="2700000">
              <a:off x="3863332" y="1960258"/>
              <a:ext cx="1412262" cy="14122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 rot="2700000">
              <a:off x="4932740" y="3029667"/>
              <a:ext cx="1412262" cy="14122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rot="2700000">
              <a:off x="2798998" y="3024594"/>
              <a:ext cx="1412262" cy="14122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 rot="2700000">
              <a:off x="3868407" y="4094000"/>
              <a:ext cx="1412262" cy="14122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113036" y="5379992"/>
            <a:ext cx="1329398" cy="302136"/>
            <a:chOff x="4712676" y="5390710"/>
            <a:chExt cx="2166426" cy="492370"/>
          </a:xfrm>
        </p:grpSpPr>
        <p:sp>
          <p:nvSpPr>
            <p:cNvPr id="14" name="Rectangle 13"/>
            <p:cNvSpPr/>
            <p:nvPr/>
          </p:nvSpPr>
          <p:spPr>
            <a:xfrm>
              <a:off x="4712676" y="5390710"/>
              <a:ext cx="492370" cy="492370"/>
            </a:xfrm>
            <a:prstGeom prst="rect">
              <a:avLst/>
            </a:prstGeom>
            <a:solidFill>
              <a:srgbClr val="073D6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2</a:t>
              </a:r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205046" y="5390710"/>
              <a:ext cx="1674056" cy="492370"/>
            </a:xfrm>
            <a:prstGeom prst="rect">
              <a:avLst/>
            </a:pr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WEAKNESS</a:t>
              </a:r>
              <a:endParaRPr lang="en-US" sz="11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283048" y="5379992"/>
            <a:ext cx="1329398" cy="302136"/>
            <a:chOff x="4712676" y="5390710"/>
            <a:chExt cx="2166426" cy="492370"/>
          </a:xfrm>
        </p:grpSpPr>
        <p:sp>
          <p:nvSpPr>
            <p:cNvPr id="20" name="Rectangle 19"/>
            <p:cNvSpPr/>
            <p:nvPr/>
          </p:nvSpPr>
          <p:spPr>
            <a:xfrm>
              <a:off x="4712676" y="5390710"/>
              <a:ext cx="492370" cy="492370"/>
            </a:xfrm>
            <a:prstGeom prst="rect">
              <a:avLst/>
            </a:prstGeom>
            <a:solidFill>
              <a:srgbClr val="7F13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30000"/>
                </a:prstClr>
              </a:innerShdw>
            </a:effectLst>
          </p:spPr>
          <p:txBody>
            <a:bodyPr/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4</a:t>
              </a:r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205046" y="5390710"/>
              <a:ext cx="1674056" cy="492370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THREAT</a:t>
              </a:r>
              <a:endParaRPr lang="en-US" sz="11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698042" y="5379992"/>
            <a:ext cx="1329398" cy="302136"/>
            <a:chOff x="4712676" y="5390710"/>
            <a:chExt cx="2166426" cy="492370"/>
          </a:xfrm>
        </p:grpSpPr>
        <p:sp>
          <p:nvSpPr>
            <p:cNvPr id="23" name="Rectangle 22"/>
            <p:cNvSpPr/>
            <p:nvPr/>
          </p:nvSpPr>
          <p:spPr>
            <a:xfrm>
              <a:off x="4712676" y="5390710"/>
              <a:ext cx="492370" cy="492370"/>
            </a:xfrm>
            <a:prstGeom prst="rect">
              <a:avLst/>
            </a:prstGeom>
            <a:solidFill>
              <a:srgbClr val="DA850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3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205046" y="5390710"/>
              <a:ext cx="1674056" cy="492370"/>
            </a:xfrm>
            <a:prstGeom prst="rect">
              <a:avLst/>
            </a:prstGeom>
            <a:solidFill>
              <a:srgbClr val="F0B71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OPPORTUNITY</a:t>
              </a:r>
              <a:endParaRPr lang="en-US" sz="11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144561" y="2160445"/>
            <a:ext cx="807607" cy="807604"/>
            <a:chOff x="641954" y="2128152"/>
            <a:chExt cx="646434" cy="646432"/>
          </a:xfrm>
        </p:grpSpPr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641954" y="2128152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746125" y="2269431"/>
              <a:ext cx="398202" cy="328948"/>
            </a:xfrm>
            <a:custGeom>
              <a:avLst/>
              <a:gdLst>
                <a:gd name="T0" fmla="*/ 0 w 1563"/>
                <a:gd name="T1" fmla="*/ 1243 h 1291"/>
                <a:gd name="T2" fmla="*/ 259 w 1563"/>
                <a:gd name="T3" fmla="*/ 793 h 1291"/>
                <a:gd name="T4" fmla="*/ 278 w 1563"/>
                <a:gd name="T5" fmla="*/ 761 h 1291"/>
                <a:gd name="T6" fmla="*/ 313 w 1563"/>
                <a:gd name="T7" fmla="*/ 771 h 1291"/>
                <a:gd name="T8" fmla="*/ 551 w 1563"/>
                <a:gd name="T9" fmla="*/ 835 h 1291"/>
                <a:gd name="T10" fmla="*/ 778 w 1563"/>
                <a:gd name="T11" fmla="*/ 442 h 1291"/>
                <a:gd name="T12" fmla="*/ 809 w 1563"/>
                <a:gd name="T13" fmla="*/ 388 h 1291"/>
                <a:gd name="T14" fmla="*/ 853 w 1563"/>
                <a:gd name="T15" fmla="*/ 432 h 1291"/>
                <a:gd name="T16" fmla="*/ 1050 w 1563"/>
                <a:gd name="T17" fmla="*/ 629 h 1291"/>
                <a:gd name="T18" fmla="*/ 1297 w 1563"/>
                <a:gd name="T19" fmla="*/ 200 h 1291"/>
                <a:gd name="T20" fmla="*/ 1112 w 1563"/>
                <a:gd name="T21" fmla="*/ 87 h 1291"/>
                <a:gd name="T22" fmla="*/ 1476 w 1563"/>
                <a:gd name="T23" fmla="*/ 0 h 1291"/>
                <a:gd name="T24" fmla="*/ 1563 w 1563"/>
                <a:gd name="T25" fmla="*/ 363 h 1291"/>
                <a:gd name="T26" fmla="*/ 1379 w 1563"/>
                <a:gd name="T27" fmla="*/ 250 h 1291"/>
                <a:gd name="T28" fmla="*/ 1102 w 1563"/>
                <a:gd name="T29" fmla="*/ 731 h 1291"/>
                <a:gd name="T30" fmla="*/ 1070 w 1563"/>
                <a:gd name="T31" fmla="*/ 785 h 1291"/>
                <a:gd name="T32" fmla="*/ 1025 w 1563"/>
                <a:gd name="T33" fmla="*/ 740 h 1291"/>
                <a:gd name="T34" fmla="*/ 830 w 1563"/>
                <a:gd name="T35" fmla="*/ 544 h 1291"/>
                <a:gd name="T36" fmla="*/ 616 w 1563"/>
                <a:gd name="T37" fmla="*/ 915 h 1291"/>
                <a:gd name="T38" fmla="*/ 597 w 1563"/>
                <a:gd name="T39" fmla="*/ 947 h 1291"/>
                <a:gd name="T40" fmla="*/ 562 w 1563"/>
                <a:gd name="T41" fmla="*/ 937 h 1291"/>
                <a:gd name="T42" fmla="*/ 324 w 1563"/>
                <a:gd name="T43" fmla="*/ 873 h 1291"/>
                <a:gd name="T44" fmla="*/ 83 w 1563"/>
                <a:gd name="T45" fmla="*/ 1291 h 1291"/>
                <a:gd name="T46" fmla="*/ 0 w 1563"/>
                <a:gd name="T47" fmla="*/ 1243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1243"/>
                  </a:moveTo>
                  <a:lnTo>
                    <a:pt x="259" y="793"/>
                  </a:lnTo>
                  <a:lnTo>
                    <a:pt x="278" y="761"/>
                  </a:lnTo>
                  <a:lnTo>
                    <a:pt x="313" y="771"/>
                  </a:lnTo>
                  <a:lnTo>
                    <a:pt x="551" y="835"/>
                  </a:lnTo>
                  <a:lnTo>
                    <a:pt x="778" y="442"/>
                  </a:lnTo>
                  <a:lnTo>
                    <a:pt x="809" y="388"/>
                  </a:lnTo>
                  <a:lnTo>
                    <a:pt x="853" y="432"/>
                  </a:lnTo>
                  <a:lnTo>
                    <a:pt x="1050" y="629"/>
                  </a:lnTo>
                  <a:lnTo>
                    <a:pt x="1297" y="200"/>
                  </a:lnTo>
                  <a:lnTo>
                    <a:pt x="1112" y="87"/>
                  </a:lnTo>
                  <a:lnTo>
                    <a:pt x="1476" y="0"/>
                  </a:lnTo>
                  <a:lnTo>
                    <a:pt x="1563" y="363"/>
                  </a:lnTo>
                  <a:lnTo>
                    <a:pt x="1379" y="250"/>
                  </a:lnTo>
                  <a:lnTo>
                    <a:pt x="1102" y="731"/>
                  </a:lnTo>
                  <a:lnTo>
                    <a:pt x="1070" y="785"/>
                  </a:lnTo>
                  <a:lnTo>
                    <a:pt x="1025" y="740"/>
                  </a:lnTo>
                  <a:lnTo>
                    <a:pt x="830" y="544"/>
                  </a:lnTo>
                  <a:lnTo>
                    <a:pt x="616" y="915"/>
                  </a:lnTo>
                  <a:lnTo>
                    <a:pt x="597" y="947"/>
                  </a:lnTo>
                  <a:lnTo>
                    <a:pt x="562" y="937"/>
                  </a:lnTo>
                  <a:lnTo>
                    <a:pt x="324" y="873"/>
                  </a:lnTo>
                  <a:lnTo>
                    <a:pt x="83" y="1291"/>
                  </a:lnTo>
                  <a:lnTo>
                    <a:pt x="0" y="12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999036" y="2999717"/>
            <a:ext cx="807607" cy="807604"/>
            <a:chOff x="7923827" y="2128151"/>
            <a:chExt cx="646434" cy="646432"/>
          </a:xfrm>
        </p:grpSpPr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7923827" y="2128151"/>
              <a:ext cx="646434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8039361" y="2278956"/>
              <a:ext cx="398202" cy="328948"/>
            </a:xfrm>
            <a:custGeom>
              <a:avLst/>
              <a:gdLst>
                <a:gd name="T0" fmla="*/ 0 w 1563"/>
                <a:gd name="T1" fmla="*/ 47 h 1291"/>
                <a:gd name="T2" fmla="*/ 259 w 1563"/>
                <a:gd name="T3" fmla="*/ 497 h 1291"/>
                <a:gd name="T4" fmla="*/ 278 w 1563"/>
                <a:gd name="T5" fmla="*/ 529 h 1291"/>
                <a:gd name="T6" fmla="*/ 313 w 1563"/>
                <a:gd name="T7" fmla="*/ 520 h 1291"/>
                <a:gd name="T8" fmla="*/ 551 w 1563"/>
                <a:gd name="T9" fmla="*/ 456 h 1291"/>
                <a:gd name="T10" fmla="*/ 778 w 1563"/>
                <a:gd name="T11" fmla="*/ 849 h 1291"/>
                <a:gd name="T12" fmla="*/ 809 w 1563"/>
                <a:gd name="T13" fmla="*/ 903 h 1291"/>
                <a:gd name="T14" fmla="*/ 853 w 1563"/>
                <a:gd name="T15" fmla="*/ 859 h 1291"/>
                <a:gd name="T16" fmla="*/ 1049 w 1563"/>
                <a:gd name="T17" fmla="*/ 662 h 1291"/>
                <a:gd name="T18" fmla="*/ 1296 w 1563"/>
                <a:gd name="T19" fmla="*/ 1090 h 1291"/>
                <a:gd name="T20" fmla="*/ 1112 w 1563"/>
                <a:gd name="T21" fmla="*/ 1204 h 1291"/>
                <a:gd name="T22" fmla="*/ 1476 w 1563"/>
                <a:gd name="T23" fmla="*/ 1291 h 1291"/>
                <a:gd name="T24" fmla="*/ 1563 w 1563"/>
                <a:gd name="T25" fmla="*/ 927 h 1291"/>
                <a:gd name="T26" fmla="*/ 1378 w 1563"/>
                <a:gd name="T27" fmla="*/ 1041 h 1291"/>
                <a:gd name="T28" fmla="*/ 1101 w 1563"/>
                <a:gd name="T29" fmla="*/ 561 h 1291"/>
                <a:gd name="T30" fmla="*/ 1070 w 1563"/>
                <a:gd name="T31" fmla="*/ 506 h 1291"/>
                <a:gd name="T32" fmla="*/ 1025 w 1563"/>
                <a:gd name="T33" fmla="*/ 551 h 1291"/>
                <a:gd name="T34" fmla="*/ 829 w 1563"/>
                <a:gd name="T35" fmla="*/ 746 h 1291"/>
                <a:gd name="T36" fmla="*/ 616 w 1563"/>
                <a:gd name="T37" fmla="*/ 376 h 1291"/>
                <a:gd name="T38" fmla="*/ 597 w 1563"/>
                <a:gd name="T39" fmla="*/ 344 h 1291"/>
                <a:gd name="T40" fmla="*/ 562 w 1563"/>
                <a:gd name="T41" fmla="*/ 353 h 1291"/>
                <a:gd name="T42" fmla="*/ 323 w 1563"/>
                <a:gd name="T43" fmla="*/ 417 h 1291"/>
                <a:gd name="T44" fmla="*/ 83 w 1563"/>
                <a:gd name="T45" fmla="*/ 0 h 1291"/>
                <a:gd name="T46" fmla="*/ 0 w 1563"/>
                <a:gd name="T47" fmla="*/ 47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47"/>
                  </a:moveTo>
                  <a:lnTo>
                    <a:pt x="259" y="497"/>
                  </a:lnTo>
                  <a:lnTo>
                    <a:pt x="278" y="529"/>
                  </a:lnTo>
                  <a:lnTo>
                    <a:pt x="313" y="520"/>
                  </a:lnTo>
                  <a:lnTo>
                    <a:pt x="551" y="456"/>
                  </a:lnTo>
                  <a:lnTo>
                    <a:pt x="778" y="849"/>
                  </a:lnTo>
                  <a:lnTo>
                    <a:pt x="809" y="903"/>
                  </a:lnTo>
                  <a:lnTo>
                    <a:pt x="853" y="859"/>
                  </a:lnTo>
                  <a:lnTo>
                    <a:pt x="1049" y="662"/>
                  </a:lnTo>
                  <a:lnTo>
                    <a:pt x="1296" y="1090"/>
                  </a:lnTo>
                  <a:lnTo>
                    <a:pt x="1112" y="1204"/>
                  </a:lnTo>
                  <a:lnTo>
                    <a:pt x="1476" y="1291"/>
                  </a:lnTo>
                  <a:lnTo>
                    <a:pt x="1563" y="927"/>
                  </a:lnTo>
                  <a:lnTo>
                    <a:pt x="1378" y="1041"/>
                  </a:lnTo>
                  <a:lnTo>
                    <a:pt x="1101" y="561"/>
                  </a:lnTo>
                  <a:lnTo>
                    <a:pt x="1070" y="506"/>
                  </a:lnTo>
                  <a:lnTo>
                    <a:pt x="1025" y="551"/>
                  </a:lnTo>
                  <a:lnTo>
                    <a:pt x="829" y="746"/>
                  </a:lnTo>
                  <a:lnTo>
                    <a:pt x="616" y="376"/>
                  </a:lnTo>
                  <a:lnTo>
                    <a:pt x="597" y="344"/>
                  </a:lnTo>
                  <a:lnTo>
                    <a:pt x="562" y="353"/>
                  </a:lnTo>
                  <a:lnTo>
                    <a:pt x="323" y="417"/>
                  </a:lnTo>
                  <a:lnTo>
                    <a:pt x="83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00180" y="2989801"/>
            <a:ext cx="807607" cy="807603"/>
            <a:chOff x="641956" y="4705704"/>
            <a:chExt cx="646437" cy="646432"/>
          </a:xfrm>
        </p:grpSpPr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641956" y="4705704"/>
              <a:ext cx="646437" cy="646432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925116" y="4883589"/>
              <a:ext cx="66886" cy="285058"/>
            </a:xfrm>
            <a:custGeom>
              <a:avLst/>
              <a:gdLst>
                <a:gd name="T0" fmla="*/ 0 w 337"/>
                <a:gd name="T1" fmla="*/ 0 h 1432"/>
                <a:gd name="T2" fmla="*/ 337 w 337"/>
                <a:gd name="T3" fmla="*/ 0 h 1432"/>
                <a:gd name="T4" fmla="*/ 337 w 337"/>
                <a:gd name="T5" fmla="*/ 558 h 1432"/>
                <a:gd name="T6" fmla="*/ 272 w 337"/>
                <a:gd name="T7" fmla="*/ 1076 h 1432"/>
                <a:gd name="T8" fmla="*/ 64 w 337"/>
                <a:gd name="T9" fmla="*/ 1076 h 1432"/>
                <a:gd name="T10" fmla="*/ 0 w 337"/>
                <a:gd name="T11" fmla="*/ 558 h 1432"/>
                <a:gd name="T12" fmla="*/ 0 w 337"/>
                <a:gd name="T13" fmla="*/ 0 h 1432"/>
                <a:gd name="T14" fmla="*/ 12 w 337"/>
                <a:gd name="T15" fmla="*/ 1154 h 1432"/>
                <a:gd name="T16" fmla="*/ 326 w 337"/>
                <a:gd name="T17" fmla="*/ 1154 h 1432"/>
                <a:gd name="T18" fmla="*/ 326 w 337"/>
                <a:gd name="T19" fmla="*/ 1432 h 1432"/>
                <a:gd name="T20" fmla="*/ 12 w 337"/>
                <a:gd name="T21" fmla="*/ 1432 h 1432"/>
                <a:gd name="T22" fmla="*/ 12 w 337"/>
                <a:gd name="T23" fmla="*/ 1154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7" h="1432">
                  <a:moveTo>
                    <a:pt x="0" y="0"/>
                  </a:moveTo>
                  <a:lnTo>
                    <a:pt x="337" y="0"/>
                  </a:lnTo>
                  <a:lnTo>
                    <a:pt x="337" y="558"/>
                  </a:lnTo>
                  <a:lnTo>
                    <a:pt x="272" y="1076"/>
                  </a:lnTo>
                  <a:lnTo>
                    <a:pt x="64" y="1076"/>
                  </a:lnTo>
                  <a:lnTo>
                    <a:pt x="0" y="558"/>
                  </a:lnTo>
                  <a:lnTo>
                    <a:pt x="0" y="0"/>
                  </a:lnTo>
                  <a:close/>
                  <a:moveTo>
                    <a:pt x="12" y="1154"/>
                  </a:moveTo>
                  <a:lnTo>
                    <a:pt x="326" y="1154"/>
                  </a:lnTo>
                  <a:lnTo>
                    <a:pt x="326" y="1432"/>
                  </a:lnTo>
                  <a:lnTo>
                    <a:pt x="12" y="1432"/>
                  </a:lnTo>
                  <a:lnTo>
                    <a:pt x="12" y="11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168197" y="3893402"/>
            <a:ext cx="807606" cy="807604"/>
            <a:chOff x="7923833" y="4705707"/>
            <a:chExt cx="646434" cy="646433"/>
          </a:xfrm>
        </p:grpSpPr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7923833" y="4705707"/>
              <a:ext cx="646434" cy="646433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rgbClr val="E99E0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8108566" y="4885110"/>
              <a:ext cx="281372" cy="267026"/>
            </a:xfrm>
            <a:custGeom>
              <a:avLst/>
              <a:gdLst>
                <a:gd name="T0" fmla="*/ 509 w 1018"/>
                <a:gd name="T1" fmla="*/ 0 h 968"/>
                <a:gd name="T2" fmla="*/ 665 w 1018"/>
                <a:gd name="T3" fmla="*/ 321 h 968"/>
                <a:gd name="T4" fmla="*/ 1018 w 1018"/>
                <a:gd name="T5" fmla="*/ 370 h 968"/>
                <a:gd name="T6" fmla="*/ 761 w 1018"/>
                <a:gd name="T7" fmla="*/ 617 h 968"/>
                <a:gd name="T8" fmla="*/ 824 w 1018"/>
                <a:gd name="T9" fmla="*/ 968 h 968"/>
                <a:gd name="T10" fmla="*/ 509 w 1018"/>
                <a:gd name="T11" fmla="*/ 800 h 968"/>
                <a:gd name="T12" fmla="*/ 194 w 1018"/>
                <a:gd name="T13" fmla="*/ 968 h 968"/>
                <a:gd name="T14" fmla="*/ 257 w 1018"/>
                <a:gd name="T15" fmla="*/ 617 h 968"/>
                <a:gd name="T16" fmla="*/ 0 w 1018"/>
                <a:gd name="T17" fmla="*/ 370 h 968"/>
                <a:gd name="T18" fmla="*/ 353 w 1018"/>
                <a:gd name="T19" fmla="*/ 321 h 968"/>
                <a:gd name="T20" fmla="*/ 509 w 1018"/>
                <a:gd name="T21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8" h="968">
                  <a:moveTo>
                    <a:pt x="509" y="0"/>
                  </a:moveTo>
                  <a:lnTo>
                    <a:pt x="665" y="321"/>
                  </a:lnTo>
                  <a:lnTo>
                    <a:pt x="1018" y="370"/>
                  </a:lnTo>
                  <a:lnTo>
                    <a:pt x="761" y="617"/>
                  </a:lnTo>
                  <a:lnTo>
                    <a:pt x="824" y="968"/>
                  </a:lnTo>
                  <a:lnTo>
                    <a:pt x="509" y="800"/>
                  </a:lnTo>
                  <a:lnTo>
                    <a:pt x="194" y="968"/>
                  </a:lnTo>
                  <a:lnTo>
                    <a:pt x="257" y="617"/>
                  </a:lnTo>
                  <a:lnTo>
                    <a:pt x="0" y="370"/>
                  </a:lnTo>
                  <a:lnTo>
                    <a:pt x="353" y="321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1528030" y="5379992"/>
            <a:ext cx="1329398" cy="302136"/>
            <a:chOff x="4712676" y="5390710"/>
            <a:chExt cx="2166426" cy="492370"/>
          </a:xfrm>
        </p:grpSpPr>
        <p:sp>
          <p:nvSpPr>
            <p:cNvPr id="39" name="Rectangle 38"/>
            <p:cNvSpPr/>
            <p:nvPr/>
          </p:nvSpPr>
          <p:spPr>
            <a:xfrm>
              <a:off x="4712676" y="5390710"/>
              <a:ext cx="492370" cy="492370"/>
            </a:xfrm>
            <a:prstGeom prst="rect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1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205046" y="5390710"/>
              <a:ext cx="1674056" cy="492370"/>
            </a:xfrm>
            <a:prstGeom prst="rect">
              <a:avLst/>
            </a:pr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STRENGTH</a:t>
              </a:r>
              <a:endParaRPr lang="en-US" sz="11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0859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7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824905378"/>
              </p:ext>
            </p:extLst>
          </p:nvPr>
        </p:nvGraphicFramePr>
        <p:xfrm>
          <a:off x="381000" y="2072640"/>
          <a:ext cx="5082540" cy="3388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2290099" y="4285758"/>
            <a:ext cx="502668" cy="502666"/>
            <a:chOff x="1294734" y="1600200"/>
            <a:chExt cx="807606" cy="807604"/>
          </a:xfrm>
          <a:effectLst/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1294734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1424877" y="1776703"/>
              <a:ext cx="497484" cy="410963"/>
            </a:xfrm>
            <a:custGeom>
              <a:avLst/>
              <a:gdLst>
                <a:gd name="T0" fmla="*/ 0 w 1563"/>
                <a:gd name="T1" fmla="*/ 1243 h 1291"/>
                <a:gd name="T2" fmla="*/ 259 w 1563"/>
                <a:gd name="T3" fmla="*/ 793 h 1291"/>
                <a:gd name="T4" fmla="*/ 278 w 1563"/>
                <a:gd name="T5" fmla="*/ 761 h 1291"/>
                <a:gd name="T6" fmla="*/ 313 w 1563"/>
                <a:gd name="T7" fmla="*/ 771 h 1291"/>
                <a:gd name="T8" fmla="*/ 551 w 1563"/>
                <a:gd name="T9" fmla="*/ 835 h 1291"/>
                <a:gd name="T10" fmla="*/ 778 w 1563"/>
                <a:gd name="T11" fmla="*/ 442 h 1291"/>
                <a:gd name="T12" fmla="*/ 809 w 1563"/>
                <a:gd name="T13" fmla="*/ 388 h 1291"/>
                <a:gd name="T14" fmla="*/ 853 w 1563"/>
                <a:gd name="T15" fmla="*/ 432 h 1291"/>
                <a:gd name="T16" fmla="*/ 1050 w 1563"/>
                <a:gd name="T17" fmla="*/ 629 h 1291"/>
                <a:gd name="T18" fmla="*/ 1297 w 1563"/>
                <a:gd name="T19" fmla="*/ 200 h 1291"/>
                <a:gd name="T20" fmla="*/ 1112 w 1563"/>
                <a:gd name="T21" fmla="*/ 87 h 1291"/>
                <a:gd name="T22" fmla="*/ 1476 w 1563"/>
                <a:gd name="T23" fmla="*/ 0 h 1291"/>
                <a:gd name="T24" fmla="*/ 1563 w 1563"/>
                <a:gd name="T25" fmla="*/ 363 h 1291"/>
                <a:gd name="T26" fmla="*/ 1379 w 1563"/>
                <a:gd name="T27" fmla="*/ 250 h 1291"/>
                <a:gd name="T28" fmla="*/ 1102 w 1563"/>
                <a:gd name="T29" fmla="*/ 731 h 1291"/>
                <a:gd name="T30" fmla="*/ 1070 w 1563"/>
                <a:gd name="T31" fmla="*/ 785 h 1291"/>
                <a:gd name="T32" fmla="*/ 1025 w 1563"/>
                <a:gd name="T33" fmla="*/ 740 h 1291"/>
                <a:gd name="T34" fmla="*/ 830 w 1563"/>
                <a:gd name="T35" fmla="*/ 544 h 1291"/>
                <a:gd name="T36" fmla="*/ 616 w 1563"/>
                <a:gd name="T37" fmla="*/ 915 h 1291"/>
                <a:gd name="T38" fmla="*/ 597 w 1563"/>
                <a:gd name="T39" fmla="*/ 947 h 1291"/>
                <a:gd name="T40" fmla="*/ 562 w 1563"/>
                <a:gd name="T41" fmla="*/ 937 h 1291"/>
                <a:gd name="T42" fmla="*/ 324 w 1563"/>
                <a:gd name="T43" fmla="*/ 873 h 1291"/>
                <a:gd name="T44" fmla="*/ 83 w 1563"/>
                <a:gd name="T45" fmla="*/ 1291 h 1291"/>
                <a:gd name="T46" fmla="*/ 0 w 1563"/>
                <a:gd name="T47" fmla="*/ 1243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1243"/>
                  </a:moveTo>
                  <a:lnTo>
                    <a:pt x="259" y="793"/>
                  </a:lnTo>
                  <a:lnTo>
                    <a:pt x="278" y="761"/>
                  </a:lnTo>
                  <a:lnTo>
                    <a:pt x="313" y="771"/>
                  </a:lnTo>
                  <a:lnTo>
                    <a:pt x="551" y="835"/>
                  </a:lnTo>
                  <a:lnTo>
                    <a:pt x="778" y="442"/>
                  </a:lnTo>
                  <a:lnTo>
                    <a:pt x="809" y="388"/>
                  </a:lnTo>
                  <a:lnTo>
                    <a:pt x="853" y="432"/>
                  </a:lnTo>
                  <a:lnTo>
                    <a:pt x="1050" y="629"/>
                  </a:lnTo>
                  <a:lnTo>
                    <a:pt x="1297" y="200"/>
                  </a:lnTo>
                  <a:lnTo>
                    <a:pt x="1112" y="87"/>
                  </a:lnTo>
                  <a:lnTo>
                    <a:pt x="1476" y="0"/>
                  </a:lnTo>
                  <a:lnTo>
                    <a:pt x="1563" y="363"/>
                  </a:lnTo>
                  <a:lnTo>
                    <a:pt x="1379" y="250"/>
                  </a:lnTo>
                  <a:lnTo>
                    <a:pt x="1102" y="731"/>
                  </a:lnTo>
                  <a:lnTo>
                    <a:pt x="1070" y="785"/>
                  </a:lnTo>
                  <a:lnTo>
                    <a:pt x="1025" y="740"/>
                  </a:lnTo>
                  <a:lnTo>
                    <a:pt x="830" y="544"/>
                  </a:lnTo>
                  <a:lnTo>
                    <a:pt x="616" y="915"/>
                  </a:lnTo>
                  <a:lnTo>
                    <a:pt x="597" y="947"/>
                  </a:lnTo>
                  <a:lnTo>
                    <a:pt x="562" y="937"/>
                  </a:lnTo>
                  <a:lnTo>
                    <a:pt x="324" y="873"/>
                  </a:lnTo>
                  <a:lnTo>
                    <a:pt x="83" y="1291"/>
                  </a:lnTo>
                  <a:lnTo>
                    <a:pt x="0" y="1243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43430" y="3395815"/>
            <a:ext cx="502668" cy="502666"/>
            <a:chOff x="2903289" y="1600200"/>
            <a:chExt cx="807606" cy="807604"/>
          </a:xfrm>
          <a:effectLst/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2903289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3047621" y="1788605"/>
              <a:ext cx="497484" cy="410963"/>
            </a:xfrm>
            <a:custGeom>
              <a:avLst/>
              <a:gdLst>
                <a:gd name="T0" fmla="*/ 0 w 1563"/>
                <a:gd name="T1" fmla="*/ 47 h 1291"/>
                <a:gd name="T2" fmla="*/ 259 w 1563"/>
                <a:gd name="T3" fmla="*/ 497 h 1291"/>
                <a:gd name="T4" fmla="*/ 278 w 1563"/>
                <a:gd name="T5" fmla="*/ 529 h 1291"/>
                <a:gd name="T6" fmla="*/ 313 w 1563"/>
                <a:gd name="T7" fmla="*/ 520 h 1291"/>
                <a:gd name="T8" fmla="*/ 551 w 1563"/>
                <a:gd name="T9" fmla="*/ 456 h 1291"/>
                <a:gd name="T10" fmla="*/ 778 w 1563"/>
                <a:gd name="T11" fmla="*/ 849 h 1291"/>
                <a:gd name="T12" fmla="*/ 809 w 1563"/>
                <a:gd name="T13" fmla="*/ 903 h 1291"/>
                <a:gd name="T14" fmla="*/ 853 w 1563"/>
                <a:gd name="T15" fmla="*/ 859 h 1291"/>
                <a:gd name="T16" fmla="*/ 1049 w 1563"/>
                <a:gd name="T17" fmla="*/ 662 h 1291"/>
                <a:gd name="T18" fmla="*/ 1296 w 1563"/>
                <a:gd name="T19" fmla="*/ 1090 h 1291"/>
                <a:gd name="T20" fmla="*/ 1112 w 1563"/>
                <a:gd name="T21" fmla="*/ 1204 h 1291"/>
                <a:gd name="T22" fmla="*/ 1476 w 1563"/>
                <a:gd name="T23" fmla="*/ 1291 h 1291"/>
                <a:gd name="T24" fmla="*/ 1563 w 1563"/>
                <a:gd name="T25" fmla="*/ 927 h 1291"/>
                <a:gd name="T26" fmla="*/ 1378 w 1563"/>
                <a:gd name="T27" fmla="*/ 1041 h 1291"/>
                <a:gd name="T28" fmla="*/ 1101 w 1563"/>
                <a:gd name="T29" fmla="*/ 561 h 1291"/>
                <a:gd name="T30" fmla="*/ 1070 w 1563"/>
                <a:gd name="T31" fmla="*/ 506 h 1291"/>
                <a:gd name="T32" fmla="*/ 1025 w 1563"/>
                <a:gd name="T33" fmla="*/ 551 h 1291"/>
                <a:gd name="T34" fmla="*/ 829 w 1563"/>
                <a:gd name="T35" fmla="*/ 746 h 1291"/>
                <a:gd name="T36" fmla="*/ 616 w 1563"/>
                <a:gd name="T37" fmla="*/ 376 h 1291"/>
                <a:gd name="T38" fmla="*/ 597 w 1563"/>
                <a:gd name="T39" fmla="*/ 344 h 1291"/>
                <a:gd name="T40" fmla="*/ 562 w 1563"/>
                <a:gd name="T41" fmla="*/ 353 h 1291"/>
                <a:gd name="T42" fmla="*/ 323 w 1563"/>
                <a:gd name="T43" fmla="*/ 417 h 1291"/>
                <a:gd name="T44" fmla="*/ 83 w 1563"/>
                <a:gd name="T45" fmla="*/ 0 h 1291"/>
                <a:gd name="T46" fmla="*/ 0 w 1563"/>
                <a:gd name="T47" fmla="*/ 47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47"/>
                  </a:moveTo>
                  <a:lnTo>
                    <a:pt x="259" y="497"/>
                  </a:lnTo>
                  <a:lnTo>
                    <a:pt x="278" y="529"/>
                  </a:lnTo>
                  <a:lnTo>
                    <a:pt x="313" y="520"/>
                  </a:lnTo>
                  <a:lnTo>
                    <a:pt x="551" y="456"/>
                  </a:lnTo>
                  <a:lnTo>
                    <a:pt x="778" y="849"/>
                  </a:lnTo>
                  <a:lnTo>
                    <a:pt x="809" y="903"/>
                  </a:lnTo>
                  <a:lnTo>
                    <a:pt x="853" y="859"/>
                  </a:lnTo>
                  <a:lnTo>
                    <a:pt x="1049" y="662"/>
                  </a:lnTo>
                  <a:lnTo>
                    <a:pt x="1296" y="1090"/>
                  </a:lnTo>
                  <a:lnTo>
                    <a:pt x="1112" y="1204"/>
                  </a:lnTo>
                  <a:lnTo>
                    <a:pt x="1476" y="1291"/>
                  </a:lnTo>
                  <a:lnTo>
                    <a:pt x="1563" y="927"/>
                  </a:lnTo>
                  <a:lnTo>
                    <a:pt x="1378" y="1041"/>
                  </a:lnTo>
                  <a:lnTo>
                    <a:pt x="1101" y="561"/>
                  </a:lnTo>
                  <a:lnTo>
                    <a:pt x="1070" y="506"/>
                  </a:lnTo>
                  <a:lnTo>
                    <a:pt x="1025" y="551"/>
                  </a:lnTo>
                  <a:lnTo>
                    <a:pt x="829" y="746"/>
                  </a:lnTo>
                  <a:lnTo>
                    <a:pt x="616" y="376"/>
                  </a:lnTo>
                  <a:lnTo>
                    <a:pt x="597" y="344"/>
                  </a:lnTo>
                  <a:lnTo>
                    <a:pt x="562" y="353"/>
                  </a:lnTo>
                  <a:lnTo>
                    <a:pt x="323" y="417"/>
                  </a:lnTo>
                  <a:lnTo>
                    <a:pt x="83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697570" y="3285233"/>
            <a:ext cx="502668" cy="502666"/>
            <a:chOff x="6524259" y="1600200"/>
            <a:chExt cx="807606" cy="807604"/>
          </a:xfrm>
          <a:effectLst/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6524259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6878020" y="1822440"/>
              <a:ext cx="83562" cy="356130"/>
            </a:xfrm>
            <a:custGeom>
              <a:avLst/>
              <a:gdLst>
                <a:gd name="T0" fmla="*/ 0 w 337"/>
                <a:gd name="T1" fmla="*/ 0 h 1432"/>
                <a:gd name="T2" fmla="*/ 337 w 337"/>
                <a:gd name="T3" fmla="*/ 0 h 1432"/>
                <a:gd name="T4" fmla="*/ 337 w 337"/>
                <a:gd name="T5" fmla="*/ 558 h 1432"/>
                <a:gd name="T6" fmla="*/ 272 w 337"/>
                <a:gd name="T7" fmla="*/ 1076 h 1432"/>
                <a:gd name="T8" fmla="*/ 64 w 337"/>
                <a:gd name="T9" fmla="*/ 1076 h 1432"/>
                <a:gd name="T10" fmla="*/ 0 w 337"/>
                <a:gd name="T11" fmla="*/ 558 h 1432"/>
                <a:gd name="T12" fmla="*/ 0 w 337"/>
                <a:gd name="T13" fmla="*/ 0 h 1432"/>
                <a:gd name="T14" fmla="*/ 12 w 337"/>
                <a:gd name="T15" fmla="*/ 1154 h 1432"/>
                <a:gd name="T16" fmla="*/ 326 w 337"/>
                <a:gd name="T17" fmla="*/ 1154 h 1432"/>
                <a:gd name="T18" fmla="*/ 326 w 337"/>
                <a:gd name="T19" fmla="*/ 1432 h 1432"/>
                <a:gd name="T20" fmla="*/ 12 w 337"/>
                <a:gd name="T21" fmla="*/ 1432 h 1432"/>
                <a:gd name="T22" fmla="*/ 12 w 337"/>
                <a:gd name="T23" fmla="*/ 1154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7" h="1432">
                  <a:moveTo>
                    <a:pt x="0" y="0"/>
                  </a:moveTo>
                  <a:lnTo>
                    <a:pt x="337" y="0"/>
                  </a:lnTo>
                  <a:lnTo>
                    <a:pt x="337" y="558"/>
                  </a:lnTo>
                  <a:lnTo>
                    <a:pt x="272" y="1076"/>
                  </a:lnTo>
                  <a:lnTo>
                    <a:pt x="64" y="1076"/>
                  </a:lnTo>
                  <a:lnTo>
                    <a:pt x="0" y="558"/>
                  </a:lnTo>
                  <a:lnTo>
                    <a:pt x="0" y="0"/>
                  </a:lnTo>
                  <a:close/>
                  <a:moveTo>
                    <a:pt x="12" y="1154"/>
                  </a:moveTo>
                  <a:lnTo>
                    <a:pt x="326" y="1154"/>
                  </a:lnTo>
                  <a:lnTo>
                    <a:pt x="326" y="1432"/>
                  </a:lnTo>
                  <a:lnTo>
                    <a:pt x="12" y="1432"/>
                  </a:lnTo>
                  <a:lnTo>
                    <a:pt x="12" y="115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241547" y="2640232"/>
            <a:ext cx="502668" cy="502666"/>
            <a:chOff x="4900464" y="1600200"/>
            <a:chExt cx="807606" cy="807604"/>
          </a:xfrm>
          <a:effectLst/>
        </p:grpSpPr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4900464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5131256" y="1824340"/>
              <a:ext cx="351525" cy="333602"/>
            </a:xfrm>
            <a:custGeom>
              <a:avLst/>
              <a:gdLst>
                <a:gd name="T0" fmla="*/ 509 w 1018"/>
                <a:gd name="T1" fmla="*/ 0 h 968"/>
                <a:gd name="T2" fmla="*/ 665 w 1018"/>
                <a:gd name="T3" fmla="*/ 321 h 968"/>
                <a:gd name="T4" fmla="*/ 1018 w 1018"/>
                <a:gd name="T5" fmla="*/ 370 h 968"/>
                <a:gd name="T6" fmla="*/ 761 w 1018"/>
                <a:gd name="T7" fmla="*/ 617 h 968"/>
                <a:gd name="T8" fmla="*/ 824 w 1018"/>
                <a:gd name="T9" fmla="*/ 968 h 968"/>
                <a:gd name="T10" fmla="*/ 509 w 1018"/>
                <a:gd name="T11" fmla="*/ 800 h 968"/>
                <a:gd name="T12" fmla="*/ 194 w 1018"/>
                <a:gd name="T13" fmla="*/ 968 h 968"/>
                <a:gd name="T14" fmla="*/ 257 w 1018"/>
                <a:gd name="T15" fmla="*/ 617 h 968"/>
                <a:gd name="T16" fmla="*/ 0 w 1018"/>
                <a:gd name="T17" fmla="*/ 370 h 968"/>
                <a:gd name="T18" fmla="*/ 353 w 1018"/>
                <a:gd name="T19" fmla="*/ 321 h 968"/>
                <a:gd name="T20" fmla="*/ 509 w 1018"/>
                <a:gd name="T21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8" h="968">
                  <a:moveTo>
                    <a:pt x="509" y="0"/>
                  </a:moveTo>
                  <a:lnTo>
                    <a:pt x="665" y="321"/>
                  </a:lnTo>
                  <a:lnTo>
                    <a:pt x="1018" y="370"/>
                  </a:lnTo>
                  <a:lnTo>
                    <a:pt x="761" y="617"/>
                  </a:lnTo>
                  <a:lnTo>
                    <a:pt x="824" y="968"/>
                  </a:lnTo>
                  <a:lnTo>
                    <a:pt x="509" y="800"/>
                  </a:lnTo>
                  <a:lnTo>
                    <a:pt x="194" y="968"/>
                  </a:lnTo>
                  <a:lnTo>
                    <a:pt x="257" y="617"/>
                  </a:lnTo>
                  <a:lnTo>
                    <a:pt x="0" y="370"/>
                  </a:lnTo>
                  <a:lnTo>
                    <a:pt x="353" y="321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Rectangle 26"/>
          <p:cNvSpPr/>
          <p:nvPr/>
        </p:nvSpPr>
        <p:spPr>
          <a:xfrm rot="5400000">
            <a:off x="5156755" y="2364099"/>
            <a:ext cx="661185" cy="165744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>
          <a:xfrm rot="5400000">
            <a:off x="5156755" y="3202732"/>
            <a:ext cx="661185" cy="165744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9" name="Rectangle 28"/>
          <p:cNvSpPr/>
          <p:nvPr/>
        </p:nvSpPr>
        <p:spPr>
          <a:xfrm rot="5400000">
            <a:off x="5156755" y="4041365"/>
            <a:ext cx="661185" cy="165744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 rot="5400000">
            <a:off x="5156755" y="4879998"/>
            <a:ext cx="661185" cy="165744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31" name="Rectangle 33"/>
          <p:cNvSpPr>
            <a:spLocks/>
          </p:cNvSpPr>
          <p:nvPr/>
        </p:nvSpPr>
        <p:spPr bwMode="auto">
          <a:xfrm>
            <a:off x="5679470" y="2167109"/>
            <a:ext cx="1656512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STRENGTH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32" name="Rectangle 33"/>
          <p:cNvSpPr>
            <a:spLocks/>
          </p:cNvSpPr>
          <p:nvPr/>
        </p:nvSpPr>
        <p:spPr bwMode="auto">
          <a:xfrm>
            <a:off x="5678456" y="2985877"/>
            <a:ext cx="1656512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WEAKNESS </a:t>
            </a:r>
            <a:endParaRPr lang="en-US" sz="1200" b="1" dirty="0" smtClean="0"/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33" name="Rectangle 33"/>
          <p:cNvSpPr>
            <a:spLocks/>
          </p:cNvSpPr>
          <p:nvPr/>
        </p:nvSpPr>
        <p:spPr bwMode="auto">
          <a:xfrm>
            <a:off x="5678456" y="3777925"/>
            <a:ext cx="1656512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OPPORTUNITY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  <p:sp>
        <p:nvSpPr>
          <p:cNvPr id="34" name="Rectangle 33"/>
          <p:cNvSpPr>
            <a:spLocks/>
          </p:cNvSpPr>
          <p:nvPr/>
        </p:nvSpPr>
        <p:spPr bwMode="auto">
          <a:xfrm>
            <a:off x="5678456" y="4651121"/>
            <a:ext cx="1656512" cy="88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200" b="1" dirty="0"/>
              <a:t>THREAT</a:t>
            </a:r>
          </a:p>
          <a:p>
            <a:r>
              <a:rPr lang="en-US" sz="1100" dirty="0" smtClean="0"/>
              <a:t>is </a:t>
            </a:r>
            <a:r>
              <a:rPr lang="en-US" sz="1100" dirty="0"/>
              <a:t>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841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620356" y="2462886"/>
            <a:ext cx="1858337" cy="490758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20356" y="3124252"/>
            <a:ext cx="1858337" cy="490758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20356" y="3776389"/>
            <a:ext cx="1858337" cy="490758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20356" y="4437755"/>
            <a:ext cx="1858337" cy="490758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540375" y="1819606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540375" y="2303571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375" y="2780782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375" y="3264747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40375" y="3740964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540375" y="4224929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540375" y="4702140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540375" y="5186105"/>
            <a:ext cx="1858337" cy="393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22" name="Right Triangle 21"/>
          <p:cNvSpPr/>
          <p:nvPr/>
        </p:nvSpPr>
        <p:spPr>
          <a:xfrm rot="5400000">
            <a:off x="5540375" y="1819606"/>
            <a:ext cx="215106" cy="215106"/>
          </a:xfrm>
          <a:prstGeom prst="rtTriangle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ight Triangle 22"/>
          <p:cNvSpPr/>
          <p:nvPr/>
        </p:nvSpPr>
        <p:spPr>
          <a:xfrm rot="5400000">
            <a:off x="5540375" y="2303571"/>
            <a:ext cx="215106" cy="215106"/>
          </a:xfrm>
          <a:prstGeom prst="rtTriangle">
            <a:avLst/>
          </a:prstGeom>
          <a:solidFill>
            <a:srgbClr val="E99E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Triangle 23"/>
          <p:cNvSpPr/>
          <p:nvPr/>
        </p:nvSpPr>
        <p:spPr>
          <a:xfrm rot="5400000">
            <a:off x="5540375" y="2780386"/>
            <a:ext cx="215106" cy="215106"/>
          </a:xfrm>
          <a:prstGeom prst="rtTriangle">
            <a:avLst/>
          </a:prstGeom>
          <a:solidFill>
            <a:srgbClr val="2A9B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Triangle 24"/>
          <p:cNvSpPr/>
          <p:nvPr/>
        </p:nvSpPr>
        <p:spPr>
          <a:xfrm rot="5400000">
            <a:off x="5540375" y="3264351"/>
            <a:ext cx="215106" cy="215106"/>
          </a:xfrm>
          <a:prstGeom prst="rtTriangle">
            <a:avLst/>
          </a:prstGeom>
          <a:solidFill>
            <a:srgbClr val="CE2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Triangle 25"/>
          <p:cNvSpPr/>
          <p:nvPr/>
        </p:nvSpPr>
        <p:spPr>
          <a:xfrm rot="5400000">
            <a:off x="5540375" y="3742676"/>
            <a:ext cx="215106" cy="215106"/>
          </a:xfrm>
          <a:prstGeom prst="rtTriangle">
            <a:avLst/>
          </a:prstGeom>
          <a:solidFill>
            <a:srgbClr val="E99E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Triangle 26"/>
          <p:cNvSpPr/>
          <p:nvPr/>
        </p:nvSpPr>
        <p:spPr>
          <a:xfrm rot="5400000">
            <a:off x="5540375" y="4226641"/>
            <a:ext cx="215106" cy="215106"/>
          </a:xfrm>
          <a:prstGeom prst="rtTriangle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Triangle 27"/>
          <p:cNvSpPr/>
          <p:nvPr/>
        </p:nvSpPr>
        <p:spPr>
          <a:xfrm rot="5400000">
            <a:off x="5540375" y="4703456"/>
            <a:ext cx="215106" cy="215106"/>
          </a:xfrm>
          <a:prstGeom prst="rtTriangle">
            <a:avLst/>
          </a:prstGeom>
          <a:solidFill>
            <a:srgbClr val="0D65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Triangle 28"/>
          <p:cNvSpPr/>
          <p:nvPr/>
        </p:nvSpPr>
        <p:spPr>
          <a:xfrm rot="5400000">
            <a:off x="5540375" y="5187421"/>
            <a:ext cx="215106" cy="215106"/>
          </a:xfrm>
          <a:prstGeom prst="rtTriangle">
            <a:avLst/>
          </a:prstGeom>
          <a:solidFill>
            <a:srgbClr val="CE2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/>
          <p:cNvCxnSpPr>
            <a:stCxn id="7" idx="3"/>
            <a:endCxn id="12" idx="1"/>
          </p:cNvCxnSpPr>
          <p:nvPr/>
        </p:nvCxnSpPr>
        <p:spPr>
          <a:xfrm flipV="1">
            <a:off x="3478693" y="2016398"/>
            <a:ext cx="2061682" cy="691867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7" idx="3"/>
            <a:endCxn id="14" idx="1"/>
          </p:cNvCxnSpPr>
          <p:nvPr/>
        </p:nvCxnSpPr>
        <p:spPr>
          <a:xfrm>
            <a:off x="3478693" y="2708265"/>
            <a:ext cx="2061682" cy="269309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stCxn id="8" idx="3"/>
            <a:endCxn id="27" idx="4"/>
          </p:cNvCxnSpPr>
          <p:nvPr/>
        </p:nvCxnSpPr>
        <p:spPr>
          <a:xfrm>
            <a:off x="3478693" y="3369631"/>
            <a:ext cx="2061682" cy="1072116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8" idx="3"/>
            <a:endCxn id="20" idx="1"/>
          </p:cNvCxnSpPr>
          <p:nvPr/>
        </p:nvCxnSpPr>
        <p:spPr>
          <a:xfrm>
            <a:off x="3478693" y="3369631"/>
            <a:ext cx="2061682" cy="1529301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9" idx="3"/>
            <a:endCxn id="18" idx="1"/>
          </p:cNvCxnSpPr>
          <p:nvPr/>
        </p:nvCxnSpPr>
        <p:spPr>
          <a:xfrm flipV="1">
            <a:off x="3478693" y="3937756"/>
            <a:ext cx="2061682" cy="84012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9" idx="3"/>
            <a:endCxn id="13" idx="1"/>
          </p:cNvCxnSpPr>
          <p:nvPr/>
        </p:nvCxnSpPr>
        <p:spPr>
          <a:xfrm flipV="1">
            <a:off x="3478693" y="2500363"/>
            <a:ext cx="2061682" cy="1521405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11" idx="3"/>
            <a:endCxn id="21" idx="1"/>
          </p:cNvCxnSpPr>
          <p:nvPr/>
        </p:nvCxnSpPr>
        <p:spPr>
          <a:xfrm>
            <a:off x="3478693" y="4683134"/>
            <a:ext cx="2061682" cy="699763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11" idx="3"/>
            <a:endCxn id="15" idx="1"/>
          </p:cNvCxnSpPr>
          <p:nvPr/>
        </p:nvCxnSpPr>
        <p:spPr>
          <a:xfrm flipV="1">
            <a:off x="3478693" y="3461539"/>
            <a:ext cx="2061682" cy="1221595"/>
          </a:xfrm>
          <a:prstGeom prst="line">
            <a:avLst/>
          </a:prstGeom>
          <a:ln w="952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5994893" y="1873315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2" name="TextBox 51"/>
          <p:cNvSpPr txBox="1"/>
          <p:nvPr/>
        </p:nvSpPr>
        <p:spPr>
          <a:xfrm>
            <a:off x="5994893" y="2357280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3" name="TextBox 52"/>
          <p:cNvSpPr txBox="1"/>
          <p:nvPr/>
        </p:nvSpPr>
        <p:spPr>
          <a:xfrm>
            <a:off x="5994893" y="2821555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4" name="TextBox 53"/>
          <p:cNvSpPr txBox="1"/>
          <p:nvPr/>
        </p:nvSpPr>
        <p:spPr>
          <a:xfrm>
            <a:off x="5994893" y="3305520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5" name="TextBox 54"/>
          <p:cNvSpPr txBox="1"/>
          <p:nvPr/>
        </p:nvSpPr>
        <p:spPr>
          <a:xfrm>
            <a:off x="5994893" y="3807763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6" name="TextBox 55"/>
          <p:cNvSpPr txBox="1"/>
          <p:nvPr/>
        </p:nvSpPr>
        <p:spPr>
          <a:xfrm>
            <a:off x="5994893" y="4291728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7" name="TextBox 56"/>
          <p:cNvSpPr txBox="1"/>
          <p:nvPr/>
        </p:nvSpPr>
        <p:spPr>
          <a:xfrm>
            <a:off x="5994893" y="4761587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8" name="TextBox 57"/>
          <p:cNvSpPr txBox="1"/>
          <p:nvPr/>
        </p:nvSpPr>
        <p:spPr>
          <a:xfrm>
            <a:off x="5994893" y="5245552"/>
            <a:ext cx="949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/>
              <a:t>Example Text</a:t>
            </a:r>
            <a:endParaRPr lang="en-US" sz="1100" dirty="0"/>
          </a:p>
        </p:txBody>
      </p:sp>
      <p:sp>
        <p:nvSpPr>
          <p:cNvPr id="59" name="TextBox 58"/>
          <p:cNvSpPr txBox="1"/>
          <p:nvPr/>
        </p:nvSpPr>
        <p:spPr>
          <a:xfrm>
            <a:off x="2094939" y="2558655"/>
            <a:ext cx="8669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STRENGTH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081057" y="3231131"/>
            <a:ext cx="894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WEAKNES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968719" y="3850547"/>
            <a:ext cx="11193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OPPORTUNITY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189741" y="4512873"/>
            <a:ext cx="677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THREA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3" name="Rectangle 33"/>
          <p:cNvSpPr>
            <a:spLocks/>
          </p:cNvSpPr>
          <p:nvPr/>
        </p:nvSpPr>
        <p:spPr bwMode="auto">
          <a:xfrm>
            <a:off x="1560818" y="5221896"/>
            <a:ext cx="2121220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i="1" dirty="0" err="1" smtClean="0"/>
              <a:t>Lorem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ipsum</a:t>
            </a:r>
            <a:r>
              <a:rPr lang="en-US" sz="1100" i="1" dirty="0" smtClean="0"/>
              <a:t> is </a:t>
            </a:r>
            <a:r>
              <a:rPr lang="en-US" sz="1100" i="1" dirty="0"/>
              <a:t>simply dummy text of the printing and typeset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9553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/>
          <p:cNvSpPr/>
          <p:nvPr/>
        </p:nvSpPr>
        <p:spPr>
          <a:xfrm>
            <a:off x="1909720" y="1933996"/>
            <a:ext cx="5340744" cy="3523408"/>
          </a:xfrm>
          <a:prstGeom prst="rect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4588184" y="2686556"/>
            <a:ext cx="1732216" cy="1009144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839784" y="3695700"/>
            <a:ext cx="1732216" cy="1009144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588184" y="3695700"/>
            <a:ext cx="1732216" cy="1009144"/>
          </a:xfrm>
          <a:prstGeom prst="rect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839784" y="2686556"/>
            <a:ext cx="1732216" cy="1009144"/>
          </a:xfrm>
          <a:prstGeom prst="rect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9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3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WOT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665692" y="3309642"/>
            <a:ext cx="1828800" cy="752560"/>
          </a:xfrm>
          <a:prstGeom prst="rect">
            <a:avLst/>
          </a:prstGeom>
          <a:solidFill>
            <a:srgbClr val="7F7F7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cxnSp>
        <p:nvCxnSpPr>
          <p:cNvPr id="67" name="Straight Connector 66"/>
          <p:cNvCxnSpPr>
            <a:stCxn id="66" idx="0"/>
          </p:cNvCxnSpPr>
          <p:nvPr/>
        </p:nvCxnSpPr>
        <p:spPr>
          <a:xfrm>
            <a:off x="4580092" y="1933996"/>
            <a:ext cx="0" cy="3520654"/>
          </a:xfrm>
          <a:prstGeom prst="line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66" idx="1"/>
            <a:endCxn id="66" idx="3"/>
          </p:cNvCxnSpPr>
          <p:nvPr/>
        </p:nvCxnSpPr>
        <p:spPr>
          <a:xfrm>
            <a:off x="1909720" y="3695700"/>
            <a:ext cx="5340744" cy="0"/>
          </a:xfrm>
          <a:prstGeom prst="line">
            <a:avLst/>
          </a:prstGeom>
          <a:ln w="12700">
            <a:solidFill>
              <a:srgbClr val="7F7F7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175251" y="1637441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INTERNAL</a:t>
            </a:r>
            <a:endParaRPr lang="en-US" sz="12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4166438" y="5498971"/>
            <a:ext cx="8435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EXTERNAL</a:t>
            </a:r>
            <a:endParaRPr lang="en-US" sz="12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7347384" y="3557200"/>
            <a:ext cx="822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NEGATIVE</a:t>
            </a:r>
            <a:endParaRPr lang="en-US" sz="120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1059807" y="3557200"/>
            <a:ext cx="7697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POSITIVE</a:t>
            </a:r>
            <a:endParaRPr lang="en-US" sz="1200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2777257" y="2397469"/>
            <a:ext cx="8669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2A9B18"/>
                </a:solidFill>
              </a:rPr>
              <a:t>STRENGTH</a:t>
            </a:r>
            <a:endParaRPr lang="en-US" sz="1200" b="1" dirty="0">
              <a:solidFill>
                <a:srgbClr val="2A9B18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505881" y="2397469"/>
            <a:ext cx="894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7F7F7F"/>
                </a:solidFill>
              </a:rPr>
              <a:t>WEAKNESS</a:t>
            </a:r>
            <a:endParaRPr lang="en-US" sz="1200" b="1" dirty="0">
              <a:solidFill>
                <a:srgbClr val="7F7F7F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249318" y="4738819"/>
            <a:ext cx="11193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E99E09"/>
                </a:solidFill>
              </a:rPr>
              <a:t>OPPORTUNITY</a:t>
            </a:r>
            <a:endParaRPr lang="en-US" sz="1200" b="1" dirty="0">
              <a:solidFill>
                <a:srgbClr val="E99E09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777257" y="4738819"/>
            <a:ext cx="677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CE202A"/>
                </a:solidFill>
              </a:rPr>
              <a:t>THREAT</a:t>
            </a:r>
            <a:endParaRPr lang="en-US" sz="1200" b="1" dirty="0">
              <a:solidFill>
                <a:srgbClr val="CE202A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084729" y="3426481"/>
            <a:ext cx="989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SWOT ANALYSIS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3438984" y="2976272"/>
            <a:ext cx="502668" cy="502666"/>
            <a:chOff x="1294734" y="1600200"/>
            <a:chExt cx="807606" cy="807604"/>
          </a:xfrm>
          <a:effectLst/>
        </p:grpSpPr>
        <p:sp>
          <p:nvSpPr>
            <p:cNvPr id="90" name="Freeform 7"/>
            <p:cNvSpPr>
              <a:spLocks/>
            </p:cNvSpPr>
            <p:nvPr/>
          </p:nvSpPr>
          <p:spPr bwMode="auto">
            <a:xfrm>
              <a:off x="1294734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1424877" y="1776703"/>
              <a:ext cx="497484" cy="410963"/>
            </a:xfrm>
            <a:custGeom>
              <a:avLst/>
              <a:gdLst>
                <a:gd name="T0" fmla="*/ 0 w 1563"/>
                <a:gd name="T1" fmla="*/ 1243 h 1291"/>
                <a:gd name="T2" fmla="*/ 259 w 1563"/>
                <a:gd name="T3" fmla="*/ 793 h 1291"/>
                <a:gd name="T4" fmla="*/ 278 w 1563"/>
                <a:gd name="T5" fmla="*/ 761 h 1291"/>
                <a:gd name="T6" fmla="*/ 313 w 1563"/>
                <a:gd name="T7" fmla="*/ 771 h 1291"/>
                <a:gd name="T8" fmla="*/ 551 w 1563"/>
                <a:gd name="T9" fmla="*/ 835 h 1291"/>
                <a:gd name="T10" fmla="*/ 778 w 1563"/>
                <a:gd name="T11" fmla="*/ 442 h 1291"/>
                <a:gd name="T12" fmla="*/ 809 w 1563"/>
                <a:gd name="T13" fmla="*/ 388 h 1291"/>
                <a:gd name="T14" fmla="*/ 853 w 1563"/>
                <a:gd name="T15" fmla="*/ 432 h 1291"/>
                <a:gd name="T16" fmla="*/ 1050 w 1563"/>
                <a:gd name="T17" fmla="*/ 629 h 1291"/>
                <a:gd name="T18" fmla="*/ 1297 w 1563"/>
                <a:gd name="T19" fmla="*/ 200 h 1291"/>
                <a:gd name="T20" fmla="*/ 1112 w 1563"/>
                <a:gd name="T21" fmla="*/ 87 h 1291"/>
                <a:gd name="T22" fmla="*/ 1476 w 1563"/>
                <a:gd name="T23" fmla="*/ 0 h 1291"/>
                <a:gd name="T24" fmla="*/ 1563 w 1563"/>
                <a:gd name="T25" fmla="*/ 363 h 1291"/>
                <a:gd name="T26" fmla="*/ 1379 w 1563"/>
                <a:gd name="T27" fmla="*/ 250 h 1291"/>
                <a:gd name="T28" fmla="*/ 1102 w 1563"/>
                <a:gd name="T29" fmla="*/ 731 h 1291"/>
                <a:gd name="T30" fmla="*/ 1070 w 1563"/>
                <a:gd name="T31" fmla="*/ 785 h 1291"/>
                <a:gd name="T32" fmla="*/ 1025 w 1563"/>
                <a:gd name="T33" fmla="*/ 740 h 1291"/>
                <a:gd name="T34" fmla="*/ 830 w 1563"/>
                <a:gd name="T35" fmla="*/ 544 h 1291"/>
                <a:gd name="T36" fmla="*/ 616 w 1563"/>
                <a:gd name="T37" fmla="*/ 915 h 1291"/>
                <a:gd name="T38" fmla="*/ 597 w 1563"/>
                <a:gd name="T39" fmla="*/ 947 h 1291"/>
                <a:gd name="T40" fmla="*/ 562 w 1563"/>
                <a:gd name="T41" fmla="*/ 937 h 1291"/>
                <a:gd name="T42" fmla="*/ 324 w 1563"/>
                <a:gd name="T43" fmla="*/ 873 h 1291"/>
                <a:gd name="T44" fmla="*/ 83 w 1563"/>
                <a:gd name="T45" fmla="*/ 1291 h 1291"/>
                <a:gd name="T46" fmla="*/ 0 w 1563"/>
                <a:gd name="T47" fmla="*/ 1243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1243"/>
                  </a:moveTo>
                  <a:lnTo>
                    <a:pt x="259" y="793"/>
                  </a:lnTo>
                  <a:lnTo>
                    <a:pt x="278" y="761"/>
                  </a:lnTo>
                  <a:lnTo>
                    <a:pt x="313" y="771"/>
                  </a:lnTo>
                  <a:lnTo>
                    <a:pt x="551" y="835"/>
                  </a:lnTo>
                  <a:lnTo>
                    <a:pt x="778" y="442"/>
                  </a:lnTo>
                  <a:lnTo>
                    <a:pt x="809" y="388"/>
                  </a:lnTo>
                  <a:lnTo>
                    <a:pt x="853" y="432"/>
                  </a:lnTo>
                  <a:lnTo>
                    <a:pt x="1050" y="629"/>
                  </a:lnTo>
                  <a:lnTo>
                    <a:pt x="1297" y="200"/>
                  </a:lnTo>
                  <a:lnTo>
                    <a:pt x="1112" y="87"/>
                  </a:lnTo>
                  <a:lnTo>
                    <a:pt x="1476" y="0"/>
                  </a:lnTo>
                  <a:lnTo>
                    <a:pt x="1563" y="363"/>
                  </a:lnTo>
                  <a:lnTo>
                    <a:pt x="1379" y="250"/>
                  </a:lnTo>
                  <a:lnTo>
                    <a:pt x="1102" y="731"/>
                  </a:lnTo>
                  <a:lnTo>
                    <a:pt x="1070" y="785"/>
                  </a:lnTo>
                  <a:lnTo>
                    <a:pt x="1025" y="740"/>
                  </a:lnTo>
                  <a:lnTo>
                    <a:pt x="830" y="544"/>
                  </a:lnTo>
                  <a:lnTo>
                    <a:pt x="616" y="915"/>
                  </a:lnTo>
                  <a:lnTo>
                    <a:pt x="597" y="947"/>
                  </a:lnTo>
                  <a:lnTo>
                    <a:pt x="562" y="937"/>
                  </a:lnTo>
                  <a:lnTo>
                    <a:pt x="324" y="873"/>
                  </a:lnTo>
                  <a:lnTo>
                    <a:pt x="83" y="1291"/>
                  </a:lnTo>
                  <a:lnTo>
                    <a:pt x="0" y="1243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5285551" y="2976272"/>
            <a:ext cx="502668" cy="502666"/>
            <a:chOff x="2903289" y="1600200"/>
            <a:chExt cx="807606" cy="807604"/>
          </a:xfrm>
          <a:effectLst/>
        </p:grpSpPr>
        <p:sp>
          <p:nvSpPr>
            <p:cNvPr id="93" name="Freeform 7"/>
            <p:cNvSpPr>
              <a:spLocks/>
            </p:cNvSpPr>
            <p:nvPr/>
          </p:nvSpPr>
          <p:spPr bwMode="auto">
            <a:xfrm>
              <a:off x="2903289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94" name="Freeform 11"/>
            <p:cNvSpPr>
              <a:spLocks/>
            </p:cNvSpPr>
            <p:nvPr/>
          </p:nvSpPr>
          <p:spPr bwMode="auto">
            <a:xfrm>
              <a:off x="3047621" y="1788605"/>
              <a:ext cx="497484" cy="410963"/>
            </a:xfrm>
            <a:custGeom>
              <a:avLst/>
              <a:gdLst>
                <a:gd name="T0" fmla="*/ 0 w 1563"/>
                <a:gd name="T1" fmla="*/ 47 h 1291"/>
                <a:gd name="T2" fmla="*/ 259 w 1563"/>
                <a:gd name="T3" fmla="*/ 497 h 1291"/>
                <a:gd name="T4" fmla="*/ 278 w 1563"/>
                <a:gd name="T5" fmla="*/ 529 h 1291"/>
                <a:gd name="T6" fmla="*/ 313 w 1563"/>
                <a:gd name="T7" fmla="*/ 520 h 1291"/>
                <a:gd name="T8" fmla="*/ 551 w 1563"/>
                <a:gd name="T9" fmla="*/ 456 h 1291"/>
                <a:gd name="T10" fmla="*/ 778 w 1563"/>
                <a:gd name="T11" fmla="*/ 849 h 1291"/>
                <a:gd name="T12" fmla="*/ 809 w 1563"/>
                <a:gd name="T13" fmla="*/ 903 h 1291"/>
                <a:gd name="T14" fmla="*/ 853 w 1563"/>
                <a:gd name="T15" fmla="*/ 859 h 1291"/>
                <a:gd name="T16" fmla="*/ 1049 w 1563"/>
                <a:gd name="T17" fmla="*/ 662 h 1291"/>
                <a:gd name="T18" fmla="*/ 1296 w 1563"/>
                <a:gd name="T19" fmla="*/ 1090 h 1291"/>
                <a:gd name="T20" fmla="*/ 1112 w 1563"/>
                <a:gd name="T21" fmla="*/ 1204 h 1291"/>
                <a:gd name="T22" fmla="*/ 1476 w 1563"/>
                <a:gd name="T23" fmla="*/ 1291 h 1291"/>
                <a:gd name="T24" fmla="*/ 1563 w 1563"/>
                <a:gd name="T25" fmla="*/ 927 h 1291"/>
                <a:gd name="T26" fmla="*/ 1378 w 1563"/>
                <a:gd name="T27" fmla="*/ 1041 h 1291"/>
                <a:gd name="T28" fmla="*/ 1101 w 1563"/>
                <a:gd name="T29" fmla="*/ 561 h 1291"/>
                <a:gd name="T30" fmla="*/ 1070 w 1563"/>
                <a:gd name="T31" fmla="*/ 506 h 1291"/>
                <a:gd name="T32" fmla="*/ 1025 w 1563"/>
                <a:gd name="T33" fmla="*/ 551 h 1291"/>
                <a:gd name="T34" fmla="*/ 829 w 1563"/>
                <a:gd name="T35" fmla="*/ 746 h 1291"/>
                <a:gd name="T36" fmla="*/ 616 w 1563"/>
                <a:gd name="T37" fmla="*/ 376 h 1291"/>
                <a:gd name="T38" fmla="*/ 597 w 1563"/>
                <a:gd name="T39" fmla="*/ 344 h 1291"/>
                <a:gd name="T40" fmla="*/ 562 w 1563"/>
                <a:gd name="T41" fmla="*/ 353 h 1291"/>
                <a:gd name="T42" fmla="*/ 323 w 1563"/>
                <a:gd name="T43" fmla="*/ 417 h 1291"/>
                <a:gd name="T44" fmla="*/ 83 w 1563"/>
                <a:gd name="T45" fmla="*/ 0 h 1291"/>
                <a:gd name="T46" fmla="*/ 0 w 1563"/>
                <a:gd name="T47" fmla="*/ 47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63" h="1291">
                  <a:moveTo>
                    <a:pt x="0" y="47"/>
                  </a:moveTo>
                  <a:lnTo>
                    <a:pt x="259" y="497"/>
                  </a:lnTo>
                  <a:lnTo>
                    <a:pt x="278" y="529"/>
                  </a:lnTo>
                  <a:lnTo>
                    <a:pt x="313" y="520"/>
                  </a:lnTo>
                  <a:lnTo>
                    <a:pt x="551" y="456"/>
                  </a:lnTo>
                  <a:lnTo>
                    <a:pt x="778" y="849"/>
                  </a:lnTo>
                  <a:lnTo>
                    <a:pt x="809" y="903"/>
                  </a:lnTo>
                  <a:lnTo>
                    <a:pt x="853" y="859"/>
                  </a:lnTo>
                  <a:lnTo>
                    <a:pt x="1049" y="662"/>
                  </a:lnTo>
                  <a:lnTo>
                    <a:pt x="1296" y="1090"/>
                  </a:lnTo>
                  <a:lnTo>
                    <a:pt x="1112" y="1204"/>
                  </a:lnTo>
                  <a:lnTo>
                    <a:pt x="1476" y="1291"/>
                  </a:lnTo>
                  <a:lnTo>
                    <a:pt x="1563" y="927"/>
                  </a:lnTo>
                  <a:lnTo>
                    <a:pt x="1378" y="1041"/>
                  </a:lnTo>
                  <a:lnTo>
                    <a:pt x="1101" y="561"/>
                  </a:lnTo>
                  <a:lnTo>
                    <a:pt x="1070" y="506"/>
                  </a:lnTo>
                  <a:lnTo>
                    <a:pt x="1025" y="551"/>
                  </a:lnTo>
                  <a:lnTo>
                    <a:pt x="829" y="746"/>
                  </a:lnTo>
                  <a:lnTo>
                    <a:pt x="616" y="376"/>
                  </a:lnTo>
                  <a:lnTo>
                    <a:pt x="597" y="344"/>
                  </a:lnTo>
                  <a:lnTo>
                    <a:pt x="562" y="353"/>
                  </a:lnTo>
                  <a:lnTo>
                    <a:pt x="323" y="417"/>
                  </a:lnTo>
                  <a:lnTo>
                    <a:pt x="83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3438984" y="3972283"/>
            <a:ext cx="502668" cy="502666"/>
            <a:chOff x="6524259" y="1600200"/>
            <a:chExt cx="807606" cy="807604"/>
          </a:xfrm>
          <a:effectLst/>
        </p:grpSpPr>
        <p:sp>
          <p:nvSpPr>
            <p:cNvPr id="96" name="Freeform 7"/>
            <p:cNvSpPr>
              <a:spLocks/>
            </p:cNvSpPr>
            <p:nvPr/>
          </p:nvSpPr>
          <p:spPr bwMode="auto">
            <a:xfrm>
              <a:off x="6524259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97" name="Freeform 13"/>
            <p:cNvSpPr>
              <a:spLocks noEditPoints="1"/>
            </p:cNvSpPr>
            <p:nvPr/>
          </p:nvSpPr>
          <p:spPr bwMode="auto">
            <a:xfrm>
              <a:off x="6878020" y="1822440"/>
              <a:ext cx="83562" cy="356130"/>
            </a:xfrm>
            <a:custGeom>
              <a:avLst/>
              <a:gdLst>
                <a:gd name="T0" fmla="*/ 0 w 337"/>
                <a:gd name="T1" fmla="*/ 0 h 1432"/>
                <a:gd name="T2" fmla="*/ 337 w 337"/>
                <a:gd name="T3" fmla="*/ 0 h 1432"/>
                <a:gd name="T4" fmla="*/ 337 w 337"/>
                <a:gd name="T5" fmla="*/ 558 h 1432"/>
                <a:gd name="T6" fmla="*/ 272 w 337"/>
                <a:gd name="T7" fmla="*/ 1076 h 1432"/>
                <a:gd name="T8" fmla="*/ 64 w 337"/>
                <a:gd name="T9" fmla="*/ 1076 h 1432"/>
                <a:gd name="T10" fmla="*/ 0 w 337"/>
                <a:gd name="T11" fmla="*/ 558 h 1432"/>
                <a:gd name="T12" fmla="*/ 0 w 337"/>
                <a:gd name="T13" fmla="*/ 0 h 1432"/>
                <a:gd name="T14" fmla="*/ 12 w 337"/>
                <a:gd name="T15" fmla="*/ 1154 h 1432"/>
                <a:gd name="T16" fmla="*/ 326 w 337"/>
                <a:gd name="T17" fmla="*/ 1154 h 1432"/>
                <a:gd name="T18" fmla="*/ 326 w 337"/>
                <a:gd name="T19" fmla="*/ 1432 h 1432"/>
                <a:gd name="T20" fmla="*/ 12 w 337"/>
                <a:gd name="T21" fmla="*/ 1432 h 1432"/>
                <a:gd name="T22" fmla="*/ 12 w 337"/>
                <a:gd name="T23" fmla="*/ 1154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7" h="1432">
                  <a:moveTo>
                    <a:pt x="0" y="0"/>
                  </a:moveTo>
                  <a:lnTo>
                    <a:pt x="337" y="0"/>
                  </a:lnTo>
                  <a:lnTo>
                    <a:pt x="337" y="558"/>
                  </a:lnTo>
                  <a:lnTo>
                    <a:pt x="272" y="1076"/>
                  </a:lnTo>
                  <a:lnTo>
                    <a:pt x="64" y="1076"/>
                  </a:lnTo>
                  <a:lnTo>
                    <a:pt x="0" y="558"/>
                  </a:lnTo>
                  <a:lnTo>
                    <a:pt x="0" y="0"/>
                  </a:lnTo>
                  <a:close/>
                  <a:moveTo>
                    <a:pt x="12" y="1154"/>
                  </a:moveTo>
                  <a:lnTo>
                    <a:pt x="326" y="1154"/>
                  </a:lnTo>
                  <a:lnTo>
                    <a:pt x="326" y="1432"/>
                  </a:lnTo>
                  <a:lnTo>
                    <a:pt x="12" y="1432"/>
                  </a:lnTo>
                  <a:lnTo>
                    <a:pt x="12" y="115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5285551" y="3972283"/>
            <a:ext cx="502668" cy="502666"/>
            <a:chOff x="4900464" y="1600200"/>
            <a:chExt cx="807606" cy="807604"/>
          </a:xfrm>
          <a:effectLst/>
        </p:grpSpPr>
        <p:sp>
          <p:nvSpPr>
            <p:cNvPr id="99" name="Freeform 7"/>
            <p:cNvSpPr>
              <a:spLocks/>
            </p:cNvSpPr>
            <p:nvPr/>
          </p:nvSpPr>
          <p:spPr bwMode="auto">
            <a:xfrm>
              <a:off x="4900464" y="1600200"/>
              <a:ext cx="807606" cy="807604"/>
            </a:xfrm>
            <a:custGeom>
              <a:avLst/>
              <a:gdLst>
                <a:gd name="T0" fmla="*/ 3185 w 5780"/>
                <a:gd name="T1" fmla="*/ 14 h 5780"/>
                <a:gd name="T2" fmla="*/ 3612 w 5780"/>
                <a:gd name="T3" fmla="*/ 90 h 5780"/>
                <a:gd name="T4" fmla="*/ 4015 w 5780"/>
                <a:gd name="T5" fmla="*/ 227 h 5780"/>
                <a:gd name="T6" fmla="*/ 4388 w 5780"/>
                <a:gd name="T7" fmla="*/ 418 h 5780"/>
                <a:gd name="T8" fmla="*/ 4728 w 5780"/>
                <a:gd name="T9" fmla="*/ 660 h 5780"/>
                <a:gd name="T10" fmla="*/ 5030 w 5780"/>
                <a:gd name="T11" fmla="*/ 947 h 5780"/>
                <a:gd name="T12" fmla="*/ 5287 w 5780"/>
                <a:gd name="T13" fmla="*/ 1274 h 5780"/>
                <a:gd name="T14" fmla="*/ 5495 w 5780"/>
                <a:gd name="T15" fmla="*/ 1637 h 5780"/>
                <a:gd name="T16" fmla="*/ 5650 w 5780"/>
                <a:gd name="T17" fmla="*/ 2030 h 5780"/>
                <a:gd name="T18" fmla="*/ 5747 w 5780"/>
                <a:gd name="T19" fmla="*/ 2450 h 5780"/>
                <a:gd name="T20" fmla="*/ 5780 w 5780"/>
                <a:gd name="T21" fmla="*/ 2890 h 5780"/>
                <a:gd name="T22" fmla="*/ 5747 w 5780"/>
                <a:gd name="T23" fmla="*/ 3330 h 5780"/>
                <a:gd name="T24" fmla="*/ 5650 w 5780"/>
                <a:gd name="T25" fmla="*/ 3750 h 5780"/>
                <a:gd name="T26" fmla="*/ 5495 w 5780"/>
                <a:gd name="T27" fmla="*/ 4143 h 5780"/>
                <a:gd name="T28" fmla="*/ 5287 w 5780"/>
                <a:gd name="T29" fmla="*/ 4506 h 5780"/>
                <a:gd name="T30" fmla="*/ 5030 w 5780"/>
                <a:gd name="T31" fmla="*/ 4833 h 5780"/>
                <a:gd name="T32" fmla="*/ 4728 w 5780"/>
                <a:gd name="T33" fmla="*/ 5120 h 5780"/>
                <a:gd name="T34" fmla="*/ 4388 w 5780"/>
                <a:gd name="T35" fmla="*/ 5362 h 5780"/>
                <a:gd name="T36" fmla="*/ 4015 w 5780"/>
                <a:gd name="T37" fmla="*/ 5553 h 5780"/>
                <a:gd name="T38" fmla="*/ 3612 w 5780"/>
                <a:gd name="T39" fmla="*/ 5690 h 5780"/>
                <a:gd name="T40" fmla="*/ 3185 w 5780"/>
                <a:gd name="T41" fmla="*/ 5766 h 5780"/>
                <a:gd name="T42" fmla="*/ 2741 w 5780"/>
                <a:gd name="T43" fmla="*/ 5777 h 5780"/>
                <a:gd name="T44" fmla="*/ 2307 w 5780"/>
                <a:gd name="T45" fmla="*/ 5722 h 5780"/>
                <a:gd name="T46" fmla="*/ 1896 w 5780"/>
                <a:gd name="T47" fmla="*/ 5605 h 5780"/>
                <a:gd name="T48" fmla="*/ 1512 w 5780"/>
                <a:gd name="T49" fmla="*/ 5431 h 5780"/>
                <a:gd name="T50" fmla="*/ 1160 w 5780"/>
                <a:gd name="T51" fmla="*/ 5206 h 5780"/>
                <a:gd name="T52" fmla="*/ 847 w 5780"/>
                <a:gd name="T53" fmla="*/ 4933 h 5780"/>
                <a:gd name="T54" fmla="*/ 574 w 5780"/>
                <a:gd name="T55" fmla="*/ 4619 h 5780"/>
                <a:gd name="T56" fmla="*/ 349 w 5780"/>
                <a:gd name="T57" fmla="*/ 4268 h 5780"/>
                <a:gd name="T58" fmla="*/ 175 w 5780"/>
                <a:gd name="T59" fmla="*/ 3884 h 5780"/>
                <a:gd name="T60" fmla="*/ 58 w 5780"/>
                <a:gd name="T61" fmla="*/ 3473 h 5780"/>
                <a:gd name="T62" fmla="*/ 3 w 5780"/>
                <a:gd name="T63" fmla="*/ 3039 h 5780"/>
                <a:gd name="T64" fmla="*/ 14 w 5780"/>
                <a:gd name="T65" fmla="*/ 2594 h 5780"/>
                <a:gd name="T66" fmla="*/ 90 w 5780"/>
                <a:gd name="T67" fmla="*/ 2168 h 5780"/>
                <a:gd name="T68" fmla="*/ 227 w 5780"/>
                <a:gd name="T69" fmla="*/ 1765 h 5780"/>
                <a:gd name="T70" fmla="*/ 418 w 5780"/>
                <a:gd name="T71" fmla="*/ 1391 h 5780"/>
                <a:gd name="T72" fmla="*/ 660 w 5780"/>
                <a:gd name="T73" fmla="*/ 1052 h 5780"/>
                <a:gd name="T74" fmla="*/ 947 w 5780"/>
                <a:gd name="T75" fmla="*/ 750 h 5780"/>
                <a:gd name="T76" fmla="*/ 1274 w 5780"/>
                <a:gd name="T77" fmla="*/ 493 h 5780"/>
                <a:gd name="T78" fmla="*/ 1637 w 5780"/>
                <a:gd name="T79" fmla="*/ 285 h 5780"/>
                <a:gd name="T80" fmla="*/ 2030 w 5780"/>
                <a:gd name="T81" fmla="*/ 130 h 5780"/>
                <a:gd name="T82" fmla="*/ 2450 w 5780"/>
                <a:gd name="T83" fmla="*/ 33 h 5780"/>
                <a:gd name="T84" fmla="*/ 2890 w 5780"/>
                <a:gd name="T85" fmla="*/ 0 h 5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80" h="5780">
                  <a:moveTo>
                    <a:pt x="2890" y="0"/>
                  </a:moveTo>
                  <a:lnTo>
                    <a:pt x="3039" y="3"/>
                  </a:lnTo>
                  <a:lnTo>
                    <a:pt x="3185" y="14"/>
                  </a:lnTo>
                  <a:lnTo>
                    <a:pt x="3331" y="33"/>
                  </a:lnTo>
                  <a:lnTo>
                    <a:pt x="3472" y="58"/>
                  </a:lnTo>
                  <a:lnTo>
                    <a:pt x="3612" y="90"/>
                  </a:lnTo>
                  <a:lnTo>
                    <a:pt x="3749" y="130"/>
                  </a:lnTo>
                  <a:lnTo>
                    <a:pt x="3884" y="175"/>
                  </a:lnTo>
                  <a:lnTo>
                    <a:pt x="4015" y="227"/>
                  </a:lnTo>
                  <a:lnTo>
                    <a:pt x="4143" y="285"/>
                  </a:lnTo>
                  <a:lnTo>
                    <a:pt x="4268" y="349"/>
                  </a:lnTo>
                  <a:lnTo>
                    <a:pt x="4388" y="418"/>
                  </a:lnTo>
                  <a:lnTo>
                    <a:pt x="4506" y="493"/>
                  </a:lnTo>
                  <a:lnTo>
                    <a:pt x="4619" y="574"/>
                  </a:lnTo>
                  <a:lnTo>
                    <a:pt x="4728" y="660"/>
                  </a:lnTo>
                  <a:lnTo>
                    <a:pt x="4833" y="750"/>
                  </a:lnTo>
                  <a:lnTo>
                    <a:pt x="4934" y="847"/>
                  </a:lnTo>
                  <a:lnTo>
                    <a:pt x="5030" y="947"/>
                  </a:lnTo>
                  <a:lnTo>
                    <a:pt x="5120" y="1052"/>
                  </a:lnTo>
                  <a:lnTo>
                    <a:pt x="5206" y="1161"/>
                  </a:lnTo>
                  <a:lnTo>
                    <a:pt x="5287" y="1274"/>
                  </a:lnTo>
                  <a:lnTo>
                    <a:pt x="5362" y="1391"/>
                  </a:lnTo>
                  <a:lnTo>
                    <a:pt x="5431" y="1512"/>
                  </a:lnTo>
                  <a:lnTo>
                    <a:pt x="5495" y="1637"/>
                  </a:lnTo>
                  <a:lnTo>
                    <a:pt x="5553" y="1765"/>
                  </a:lnTo>
                  <a:lnTo>
                    <a:pt x="5605" y="1896"/>
                  </a:lnTo>
                  <a:lnTo>
                    <a:pt x="5650" y="2030"/>
                  </a:lnTo>
                  <a:lnTo>
                    <a:pt x="5689" y="2168"/>
                  </a:lnTo>
                  <a:lnTo>
                    <a:pt x="5722" y="2307"/>
                  </a:lnTo>
                  <a:lnTo>
                    <a:pt x="5747" y="2450"/>
                  </a:lnTo>
                  <a:lnTo>
                    <a:pt x="5765" y="2594"/>
                  </a:lnTo>
                  <a:lnTo>
                    <a:pt x="5776" y="2741"/>
                  </a:lnTo>
                  <a:lnTo>
                    <a:pt x="5780" y="2890"/>
                  </a:lnTo>
                  <a:lnTo>
                    <a:pt x="5776" y="3039"/>
                  </a:lnTo>
                  <a:lnTo>
                    <a:pt x="5765" y="3186"/>
                  </a:lnTo>
                  <a:lnTo>
                    <a:pt x="5747" y="3330"/>
                  </a:lnTo>
                  <a:lnTo>
                    <a:pt x="5722" y="3473"/>
                  </a:lnTo>
                  <a:lnTo>
                    <a:pt x="5689" y="3612"/>
                  </a:lnTo>
                  <a:lnTo>
                    <a:pt x="5650" y="3750"/>
                  </a:lnTo>
                  <a:lnTo>
                    <a:pt x="5605" y="3884"/>
                  </a:lnTo>
                  <a:lnTo>
                    <a:pt x="5553" y="4015"/>
                  </a:lnTo>
                  <a:lnTo>
                    <a:pt x="5495" y="4143"/>
                  </a:lnTo>
                  <a:lnTo>
                    <a:pt x="5431" y="4268"/>
                  </a:lnTo>
                  <a:lnTo>
                    <a:pt x="5362" y="4389"/>
                  </a:lnTo>
                  <a:lnTo>
                    <a:pt x="5287" y="4506"/>
                  </a:lnTo>
                  <a:lnTo>
                    <a:pt x="5206" y="4619"/>
                  </a:lnTo>
                  <a:lnTo>
                    <a:pt x="5120" y="4728"/>
                  </a:lnTo>
                  <a:lnTo>
                    <a:pt x="5030" y="4833"/>
                  </a:lnTo>
                  <a:lnTo>
                    <a:pt x="4934" y="4933"/>
                  </a:lnTo>
                  <a:lnTo>
                    <a:pt x="4833" y="5030"/>
                  </a:lnTo>
                  <a:lnTo>
                    <a:pt x="4728" y="5120"/>
                  </a:lnTo>
                  <a:lnTo>
                    <a:pt x="4619" y="5206"/>
                  </a:lnTo>
                  <a:lnTo>
                    <a:pt x="4506" y="5287"/>
                  </a:lnTo>
                  <a:lnTo>
                    <a:pt x="4388" y="5362"/>
                  </a:lnTo>
                  <a:lnTo>
                    <a:pt x="4268" y="5431"/>
                  </a:lnTo>
                  <a:lnTo>
                    <a:pt x="4143" y="5495"/>
                  </a:lnTo>
                  <a:lnTo>
                    <a:pt x="4015" y="5553"/>
                  </a:lnTo>
                  <a:lnTo>
                    <a:pt x="3884" y="5605"/>
                  </a:lnTo>
                  <a:lnTo>
                    <a:pt x="3749" y="5650"/>
                  </a:lnTo>
                  <a:lnTo>
                    <a:pt x="3612" y="5690"/>
                  </a:lnTo>
                  <a:lnTo>
                    <a:pt x="3472" y="5722"/>
                  </a:lnTo>
                  <a:lnTo>
                    <a:pt x="3331" y="5747"/>
                  </a:lnTo>
                  <a:lnTo>
                    <a:pt x="3185" y="5766"/>
                  </a:lnTo>
                  <a:lnTo>
                    <a:pt x="3039" y="5777"/>
                  </a:lnTo>
                  <a:lnTo>
                    <a:pt x="2890" y="5780"/>
                  </a:lnTo>
                  <a:lnTo>
                    <a:pt x="2741" y="5777"/>
                  </a:lnTo>
                  <a:lnTo>
                    <a:pt x="2594" y="5766"/>
                  </a:lnTo>
                  <a:lnTo>
                    <a:pt x="2450" y="5747"/>
                  </a:lnTo>
                  <a:lnTo>
                    <a:pt x="2307" y="5722"/>
                  </a:lnTo>
                  <a:lnTo>
                    <a:pt x="2168" y="5690"/>
                  </a:lnTo>
                  <a:lnTo>
                    <a:pt x="2030" y="5650"/>
                  </a:lnTo>
                  <a:lnTo>
                    <a:pt x="1896" y="5605"/>
                  </a:lnTo>
                  <a:lnTo>
                    <a:pt x="1765" y="5553"/>
                  </a:lnTo>
                  <a:lnTo>
                    <a:pt x="1637" y="5495"/>
                  </a:lnTo>
                  <a:lnTo>
                    <a:pt x="1512" y="5431"/>
                  </a:lnTo>
                  <a:lnTo>
                    <a:pt x="1391" y="5362"/>
                  </a:lnTo>
                  <a:lnTo>
                    <a:pt x="1274" y="5287"/>
                  </a:lnTo>
                  <a:lnTo>
                    <a:pt x="1160" y="5206"/>
                  </a:lnTo>
                  <a:lnTo>
                    <a:pt x="1052" y="5120"/>
                  </a:lnTo>
                  <a:lnTo>
                    <a:pt x="947" y="5030"/>
                  </a:lnTo>
                  <a:lnTo>
                    <a:pt x="847" y="4933"/>
                  </a:lnTo>
                  <a:lnTo>
                    <a:pt x="750" y="4833"/>
                  </a:lnTo>
                  <a:lnTo>
                    <a:pt x="660" y="4728"/>
                  </a:lnTo>
                  <a:lnTo>
                    <a:pt x="574" y="4619"/>
                  </a:lnTo>
                  <a:lnTo>
                    <a:pt x="493" y="4506"/>
                  </a:lnTo>
                  <a:lnTo>
                    <a:pt x="418" y="4389"/>
                  </a:lnTo>
                  <a:lnTo>
                    <a:pt x="349" y="4268"/>
                  </a:lnTo>
                  <a:lnTo>
                    <a:pt x="285" y="4143"/>
                  </a:lnTo>
                  <a:lnTo>
                    <a:pt x="227" y="4015"/>
                  </a:lnTo>
                  <a:lnTo>
                    <a:pt x="175" y="3884"/>
                  </a:lnTo>
                  <a:lnTo>
                    <a:pt x="129" y="3750"/>
                  </a:lnTo>
                  <a:lnTo>
                    <a:pt x="90" y="3612"/>
                  </a:lnTo>
                  <a:lnTo>
                    <a:pt x="58" y="3473"/>
                  </a:lnTo>
                  <a:lnTo>
                    <a:pt x="33" y="3330"/>
                  </a:lnTo>
                  <a:lnTo>
                    <a:pt x="14" y="3186"/>
                  </a:lnTo>
                  <a:lnTo>
                    <a:pt x="3" y="3039"/>
                  </a:lnTo>
                  <a:lnTo>
                    <a:pt x="0" y="2890"/>
                  </a:lnTo>
                  <a:lnTo>
                    <a:pt x="3" y="2741"/>
                  </a:lnTo>
                  <a:lnTo>
                    <a:pt x="14" y="2594"/>
                  </a:lnTo>
                  <a:lnTo>
                    <a:pt x="33" y="2450"/>
                  </a:lnTo>
                  <a:lnTo>
                    <a:pt x="58" y="2307"/>
                  </a:lnTo>
                  <a:lnTo>
                    <a:pt x="90" y="2168"/>
                  </a:lnTo>
                  <a:lnTo>
                    <a:pt x="129" y="2030"/>
                  </a:lnTo>
                  <a:lnTo>
                    <a:pt x="175" y="1896"/>
                  </a:lnTo>
                  <a:lnTo>
                    <a:pt x="227" y="1765"/>
                  </a:lnTo>
                  <a:lnTo>
                    <a:pt x="285" y="1637"/>
                  </a:lnTo>
                  <a:lnTo>
                    <a:pt x="349" y="1512"/>
                  </a:lnTo>
                  <a:lnTo>
                    <a:pt x="418" y="1391"/>
                  </a:lnTo>
                  <a:lnTo>
                    <a:pt x="493" y="1274"/>
                  </a:lnTo>
                  <a:lnTo>
                    <a:pt x="574" y="1161"/>
                  </a:lnTo>
                  <a:lnTo>
                    <a:pt x="660" y="1052"/>
                  </a:lnTo>
                  <a:lnTo>
                    <a:pt x="750" y="947"/>
                  </a:lnTo>
                  <a:lnTo>
                    <a:pt x="847" y="847"/>
                  </a:lnTo>
                  <a:lnTo>
                    <a:pt x="947" y="750"/>
                  </a:lnTo>
                  <a:lnTo>
                    <a:pt x="1052" y="660"/>
                  </a:lnTo>
                  <a:lnTo>
                    <a:pt x="1160" y="574"/>
                  </a:lnTo>
                  <a:lnTo>
                    <a:pt x="1274" y="493"/>
                  </a:lnTo>
                  <a:lnTo>
                    <a:pt x="1391" y="418"/>
                  </a:lnTo>
                  <a:lnTo>
                    <a:pt x="1512" y="349"/>
                  </a:lnTo>
                  <a:lnTo>
                    <a:pt x="1637" y="285"/>
                  </a:lnTo>
                  <a:lnTo>
                    <a:pt x="1765" y="227"/>
                  </a:lnTo>
                  <a:lnTo>
                    <a:pt x="1896" y="175"/>
                  </a:lnTo>
                  <a:lnTo>
                    <a:pt x="2030" y="130"/>
                  </a:lnTo>
                  <a:lnTo>
                    <a:pt x="2168" y="90"/>
                  </a:lnTo>
                  <a:lnTo>
                    <a:pt x="2307" y="58"/>
                  </a:lnTo>
                  <a:lnTo>
                    <a:pt x="2450" y="33"/>
                  </a:lnTo>
                  <a:lnTo>
                    <a:pt x="2594" y="14"/>
                  </a:lnTo>
                  <a:lnTo>
                    <a:pt x="2741" y="3"/>
                  </a:lnTo>
                  <a:lnTo>
                    <a:pt x="28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00" name="Freeform 12"/>
            <p:cNvSpPr>
              <a:spLocks/>
            </p:cNvSpPr>
            <p:nvPr/>
          </p:nvSpPr>
          <p:spPr bwMode="auto">
            <a:xfrm>
              <a:off x="5131256" y="1824340"/>
              <a:ext cx="351525" cy="333602"/>
            </a:xfrm>
            <a:custGeom>
              <a:avLst/>
              <a:gdLst>
                <a:gd name="T0" fmla="*/ 509 w 1018"/>
                <a:gd name="T1" fmla="*/ 0 h 968"/>
                <a:gd name="T2" fmla="*/ 665 w 1018"/>
                <a:gd name="T3" fmla="*/ 321 h 968"/>
                <a:gd name="T4" fmla="*/ 1018 w 1018"/>
                <a:gd name="T5" fmla="*/ 370 h 968"/>
                <a:gd name="T6" fmla="*/ 761 w 1018"/>
                <a:gd name="T7" fmla="*/ 617 h 968"/>
                <a:gd name="T8" fmla="*/ 824 w 1018"/>
                <a:gd name="T9" fmla="*/ 968 h 968"/>
                <a:gd name="T10" fmla="*/ 509 w 1018"/>
                <a:gd name="T11" fmla="*/ 800 h 968"/>
                <a:gd name="T12" fmla="*/ 194 w 1018"/>
                <a:gd name="T13" fmla="*/ 968 h 968"/>
                <a:gd name="T14" fmla="*/ 257 w 1018"/>
                <a:gd name="T15" fmla="*/ 617 h 968"/>
                <a:gd name="T16" fmla="*/ 0 w 1018"/>
                <a:gd name="T17" fmla="*/ 370 h 968"/>
                <a:gd name="T18" fmla="*/ 353 w 1018"/>
                <a:gd name="T19" fmla="*/ 321 h 968"/>
                <a:gd name="T20" fmla="*/ 509 w 1018"/>
                <a:gd name="T21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8" h="968">
                  <a:moveTo>
                    <a:pt x="509" y="0"/>
                  </a:moveTo>
                  <a:lnTo>
                    <a:pt x="665" y="321"/>
                  </a:lnTo>
                  <a:lnTo>
                    <a:pt x="1018" y="370"/>
                  </a:lnTo>
                  <a:lnTo>
                    <a:pt x="761" y="617"/>
                  </a:lnTo>
                  <a:lnTo>
                    <a:pt x="824" y="968"/>
                  </a:lnTo>
                  <a:lnTo>
                    <a:pt x="509" y="800"/>
                  </a:lnTo>
                  <a:lnTo>
                    <a:pt x="194" y="968"/>
                  </a:lnTo>
                  <a:lnTo>
                    <a:pt x="257" y="617"/>
                  </a:lnTo>
                  <a:lnTo>
                    <a:pt x="0" y="370"/>
                  </a:lnTo>
                  <a:lnTo>
                    <a:pt x="353" y="321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05245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31</TotalTime>
  <Words>457</Words>
  <Application>Microsoft Office PowerPoint</Application>
  <PresentationFormat>On-screen Show (4:3)</PresentationFormat>
  <Paragraphs>147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SWOT ANALYSIS</vt:lpstr>
      <vt:lpstr>SWOT ANALYSIS</vt:lpstr>
      <vt:lpstr>SWOT ANALYSIS</vt:lpstr>
      <vt:lpstr>SWOT ANALYSIS</vt:lpstr>
      <vt:lpstr>SWOT ANALYSIS</vt:lpstr>
      <vt:lpstr>SWOT ANALYSIS</vt:lpstr>
      <vt:lpstr>SWOT ANALYSIS</vt:lpstr>
      <vt:lpstr>SWOT ANALYSIS</vt:lpstr>
      <vt:lpstr>SWOT ANALYSIS</vt:lpstr>
    </vt:vector>
  </TitlesOfParts>
  <Company>Pahlawa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24Slides.com</cp:lastModifiedBy>
  <cp:revision>148</cp:revision>
  <dcterms:created xsi:type="dcterms:W3CDTF">2013-10-31T11:03:13Z</dcterms:created>
  <dcterms:modified xsi:type="dcterms:W3CDTF">2014-02-26T15:5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DD97FB0-CB03-4AE2-A761-98500CFC155F</vt:lpwstr>
  </property>
  <property fmtid="{D5CDD505-2E9C-101B-9397-08002B2CF9AE}" pid="3" name="ArticulatePath">
    <vt:lpwstr>SWOT</vt:lpwstr>
  </property>
</Properties>
</file>